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compatMode="1" saveSubsetFonts="1" autoCompressPictures="0">
  <p:sldMasterIdLst>
    <p:sldMasterId id="2147483648" r:id="rId1"/>
  </p:sldMasterIdLst>
  <p:notesMasterIdLst>
    <p:notesMasterId r:id="rId39"/>
  </p:notesMasterIdLst>
  <p:sldIdLst>
    <p:sldId id="256" r:id="rId2"/>
    <p:sldId id="276" r:id="rId3"/>
    <p:sldId id="284" r:id="rId4"/>
    <p:sldId id="289" r:id="rId5"/>
    <p:sldId id="263" r:id="rId6"/>
    <p:sldId id="271" r:id="rId7"/>
    <p:sldId id="272" r:id="rId8"/>
    <p:sldId id="273" r:id="rId9"/>
    <p:sldId id="300" r:id="rId10"/>
    <p:sldId id="277" r:id="rId11"/>
    <p:sldId id="278" r:id="rId12"/>
    <p:sldId id="302" r:id="rId13"/>
    <p:sldId id="282" r:id="rId14"/>
    <p:sldId id="304" r:id="rId15"/>
    <p:sldId id="280" r:id="rId16"/>
    <p:sldId id="290" r:id="rId17"/>
    <p:sldId id="283" r:id="rId18"/>
    <p:sldId id="305" r:id="rId19"/>
    <p:sldId id="268" r:id="rId20"/>
    <p:sldId id="281" r:id="rId21"/>
    <p:sldId id="270" r:id="rId22"/>
    <p:sldId id="306" r:id="rId23"/>
    <p:sldId id="274" r:id="rId24"/>
    <p:sldId id="307" r:id="rId25"/>
    <p:sldId id="286" r:id="rId26"/>
    <p:sldId id="308" r:id="rId27"/>
    <p:sldId id="291" r:id="rId28"/>
    <p:sldId id="292" r:id="rId29"/>
    <p:sldId id="293" r:id="rId30"/>
    <p:sldId id="294" r:id="rId31"/>
    <p:sldId id="295" r:id="rId32"/>
    <p:sldId id="299" r:id="rId33"/>
    <p:sldId id="296" r:id="rId34"/>
    <p:sldId id="297" r:id="rId35"/>
    <p:sldId id="298" r:id="rId36"/>
    <p:sldId id="309" r:id="rId37"/>
    <p:sldId id="285" r:id="rId38"/>
  </p:sldIdLst>
  <p:sldSz cx="9144000" cy="6858000" type="screen4x3"/>
  <p:notesSz cx="6858000" cy="91440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29">
          <p15:clr>
            <a:srgbClr val="A4A3A4"/>
          </p15:clr>
        </p15:guide>
        <p15:guide id="2" pos="161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45" autoAdjust="0"/>
    <p:restoredTop sz="94660"/>
  </p:normalViewPr>
  <p:slideViewPr>
    <p:cSldViewPr>
      <p:cViewPr varScale="1">
        <p:scale>
          <a:sx n="113" d="100"/>
          <a:sy n="113" d="100"/>
        </p:scale>
        <p:origin x="1600" y="176"/>
      </p:cViewPr>
      <p:guideLst>
        <p:guide orient="horz" pos="3929"/>
        <p:guide pos="161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7" Type="http://schemas.openxmlformats.org/officeDocument/2006/relationships/image" Target="../media/image26.emf"/><Relationship Id="rId2" Type="http://schemas.openxmlformats.org/officeDocument/2006/relationships/image" Target="../media/image21.emf"/><Relationship Id="rId1" Type="http://schemas.openxmlformats.org/officeDocument/2006/relationships/image" Target="../media/image20.emf"/><Relationship Id="rId6" Type="http://schemas.openxmlformats.org/officeDocument/2006/relationships/image" Target="../media/image25.emf"/><Relationship Id="rId5" Type="http://schemas.openxmlformats.org/officeDocument/2006/relationships/image" Target="../media/image24.emf"/><Relationship Id="rId4" Type="http://schemas.openxmlformats.org/officeDocument/2006/relationships/image" Target="../media/image2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>
            <a:extLst>
              <a:ext uri="{FF2B5EF4-FFF2-40B4-BE49-F238E27FC236}">
                <a16:creationId xmlns:a16="http://schemas.microsoft.com/office/drawing/2014/main" id="{71576D74-27D4-7E49-A479-449291779669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 altLang="de-DE"/>
          </a:p>
        </p:txBody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26EFC5F9-83D3-0C41-BE56-D895E193E115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/>
          </a:p>
        </p:txBody>
      </p:sp>
      <p:sp>
        <p:nvSpPr>
          <p:cNvPr id="6148" name="Rectangle 4">
            <a:extLst>
              <a:ext uri="{FF2B5EF4-FFF2-40B4-BE49-F238E27FC236}">
                <a16:creationId xmlns:a16="http://schemas.microsoft.com/office/drawing/2014/main" id="{DACE7BF1-A56C-1745-8EC0-486B84CF1A25}"/>
              </a:ext>
            </a:extLst>
          </p:cNvPr>
          <p:cNvSpPr>
            <a:spLocks noRo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>
            <a:extLst>
              <a:ext uri="{FF2B5EF4-FFF2-40B4-BE49-F238E27FC236}">
                <a16:creationId xmlns:a16="http://schemas.microsoft.com/office/drawing/2014/main" id="{8D845D52-576E-4247-842B-332D563536F7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6150" name="Rectangle 6">
            <a:extLst>
              <a:ext uri="{FF2B5EF4-FFF2-40B4-BE49-F238E27FC236}">
                <a16:creationId xmlns:a16="http://schemas.microsoft.com/office/drawing/2014/main" id="{C4DDFF9F-A831-8548-9089-96788F66C8F1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 altLang="de-DE"/>
          </a:p>
        </p:txBody>
      </p:sp>
      <p:sp>
        <p:nvSpPr>
          <p:cNvPr id="6151" name="Rectangle 7">
            <a:extLst>
              <a:ext uri="{FF2B5EF4-FFF2-40B4-BE49-F238E27FC236}">
                <a16:creationId xmlns:a16="http://schemas.microsoft.com/office/drawing/2014/main" id="{5AC825D4-3825-2448-8CBE-3AFE3FAC2B8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2AC0BB0E-A4B0-0D4E-8ABB-09F8A93E6BB5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12A27CBA-633F-4E48-91B8-DF48DDBF9FA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3D11A07-FBCD-BA4D-BBB3-85CA67F86FA7}" type="slidenum">
              <a:rPr lang="de-DE" altLang="de-DE"/>
              <a:pPr/>
              <a:t>1</a:t>
            </a:fld>
            <a:endParaRPr lang="de-DE" altLang="de-DE"/>
          </a:p>
        </p:txBody>
      </p:sp>
      <p:sp>
        <p:nvSpPr>
          <p:cNvPr id="54274" name="Rectangle 2">
            <a:extLst>
              <a:ext uri="{FF2B5EF4-FFF2-40B4-BE49-F238E27FC236}">
                <a16:creationId xmlns:a16="http://schemas.microsoft.com/office/drawing/2014/main" id="{51A9C56F-88CE-F347-8541-8E8959164187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5" name="Rectangle 3">
            <a:extLst>
              <a:ext uri="{FF2B5EF4-FFF2-40B4-BE49-F238E27FC236}">
                <a16:creationId xmlns:a16="http://schemas.microsoft.com/office/drawing/2014/main" id="{DFEB579D-B002-2749-B9F9-ECB07CA3EA0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3BE3154D-52A1-E248-A22B-77BDC7C9F1F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E4CD92A-2D76-0549-9C78-8B645FF49B78}" type="slidenum">
              <a:rPr lang="de-DE" altLang="de-DE"/>
              <a:pPr/>
              <a:t>10</a:t>
            </a:fld>
            <a:endParaRPr lang="de-DE" altLang="de-DE"/>
          </a:p>
        </p:txBody>
      </p:sp>
      <p:sp>
        <p:nvSpPr>
          <p:cNvPr id="57346" name="Rectangle 2">
            <a:extLst>
              <a:ext uri="{FF2B5EF4-FFF2-40B4-BE49-F238E27FC236}">
                <a16:creationId xmlns:a16="http://schemas.microsoft.com/office/drawing/2014/main" id="{5829F300-5A2E-7E44-B6AE-A7BF146B75E5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7347" name="Rectangle 3">
            <a:extLst>
              <a:ext uri="{FF2B5EF4-FFF2-40B4-BE49-F238E27FC236}">
                <a16:creationId xmlns:a16="http://schemas.microsoft.com/office/drawing/2014/main" id="{38EB2B07-B5F6-E542-AB17-5E1EE84C797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65B8A216-E56C-2843-8F56-8C940E294FA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3D6CE86-D38F-2E49-AC71-5AA21BE9DC50}" type="slidenum">
              <a:rPr lang="de-DE" altLang="de-DE"/>
              <a:pPr/>
              <a:t>11</a:t>
            </a:fld>
            <a:endParaRPr lang="de-DE" altLang="de-DE"/>
          </a:p>
        </p:txBody>
      </p:sp>
      <p:sp>
        <p:nvSpPr>
          <p:cNvPr id="58370" name="Rectangle 2">
            <a:extLst>
              <a:ext uri="{FF2B5EF4-FFF2-40B4-BE49-F238E27FC236}">
                <a16:creationId xmlns:a16="http://schemas.microsoft.com/office/drawing/2014/main" id="{02E38E27-1D37-0942-B93D-6E6EBDA6C337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8371" name="Rectangle 3">
            <a:extLst>
              <a:ext uri="{FF2B5EF4-FFF2-40B4-BE49-F238E27FC236}">
                <a16:creationId xmlns:a16="http://schemas.microsoft.com/office/drawing/2014/main" id="{D012A3E4-9FE8-794C-B723-10D9958807B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952359FE-8E4A-924A-9E43-B1E51721153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5DB7887-DE7C-F545-8C58-A25A97D07B72}" type="slidenum">
              <a:rPr lang="de-DE" altLang="de-DE"/>
              <a:pPr/>
              <a:t>12</a:t>
            </a:fld>
            <a:endParaRPr lang="de-DE" altLang="de-DE"/>
          </a:p>
        </p:txBody>
      </p:sp>
      <p:sp>
        <p:nvSpPr>
          <p:cNvPr id="96258" name="Rectangle 2">
            <a:extLst>
              <a:ext uri="{FF2B5EF4-FFF2-40B4-BE49-F238E27FC236}">
                <a16:creationId xmlns:a16="http://schemas.microsoft.com/office/drawing/2014/main" id="{BA6C9E52-E7F2-214A-AC75-1C8F3651615C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6259" name="Rectangle 3">
            <a:extLst>
              <a:ext uri="{FF2B5EF4-FFF2-40B4-BE49-F238E27FC236}">
                <a16:creationId xmlns:a16="http://schemas.microsoft.com/office/drawing/2014/main" id="{228AEE18-E0E9-CB4F-8351-4D0DF8A7FAC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62929B23-F7AF-624B-93A0-751E518AE45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6ABC330-9875-BF4D-876D-9DED15B7162D}" type="slidenum">
              <a:rPr lang="de-DE" altLang="de-DE"/>
              <a:pPr/>
              <a:t>13</a:t>
            </a:fld>
            <a:endParaRPr lang="de-DE" altLang="de-DE"/>
          </a:p>
        </p:txBody>
      </p:sp>
      <p:sp>
        <p:nvSpPr>
          <p:cNvPr id="60418" name="Rectangle 2">
            <a:extLst>
              <a:ext uri="{FF2B5EF4-FFF2-40B4-BE49-F238E27FC236}">
                <a16:creationId xmlns:a16="http://schemas.microsoft.com/office/drawing/2014/main" id="{D9E93CF0-4615-4C46-BFAA-8CD27499271D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19" name="Rectangle 3">
            <a:extLst>
              <a:ext uri="{FF2B5EF4-FFF2-40B4-BE49-F238E27FC236}">
                <a16:creationId xmlns:a16="http://schemas.microsoft.com/office/drawing/2014/main" id="{E241F99B-189E-F742-9733-9CE9E0E6855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F5270AC6-8B29-B14E-9DC7-43389CF6807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E5790C6-025C-7846-A53B-E8962159E8CF}" type="slidenum">
              <a:rPr lang="de-DE" altLang="de-DE"/>
              <a:pPr/>
              <a:t>14</a:t>
            </a:fld>
            <a:endParaRPr lang="de-DE" altLang="de-DE"/>
          </a:p>
        </p:txBody>
      </p:sp>
      <p:sp>
        <p:nvSpPr>
          <p:cNvPr id="100354" name="Rectangle 2">
            <a:extLst>
              <a:ext uri="{FF2B5EF4-FFF2-40B4-BE49-F238E27FC236}">
                <a16:creationId xmlns:a16="http://schemas.microsoft.com/office/drawing/2014/main" id="{F077C0C8-5A53-6A42-BA94-BE0C8AC67F47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0355" name="Rectangle 3">
            <a:extLst>
              <a:ext uri="{FF2B5EF4-FFF2-40B4-BE49-F238E27FC236}">
                <a16:creationId xmlns:a16="http://schemas.microsoft.com/office/drawing/2014/main" id="{D47C080B-3245-0748-B00E-8B947CD96CA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8EDB6523-CF1D-6C45-A891-94AB43E522A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40A586A-C7C9-0043-A973-F710BC200FBB}" type="slidenum">
              <a:rPr lang="de-DE" altLang="de-DE"/>
              <a:pPr/>
              <a:t>15</a:t>
            </a:fld>
            <a:endParaRPr lang="de-DE" altLang="de-DE"/>
          </a:p>
        </p:txBody>
      </p:sp>
      <p:sp>
        <p:nvSpPr>
          <p:cNvPr id="64514" name="Rectangle 2">
            <a:extLst>
              <a:ext uri="{FF2B5EF4-FFF2-40B4-BE49-F238E27FC236}">
                <a16:creationId xmlns:a16="http://schemas.microsoft.com/office/drawing/2014/main" id="{98C52D8B-F34D-A741-A630-D49EDC1959E6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4515" name="Rectangle 3">
            <a:extLst>
              <a:ext uri="{FF2B5EF4-FFF2-40B4-BE49-F238E27FC236}">
                <a16:creationId xmlns:a16="http://schemas.microsoft.com/office/drawing/2014/main" id="{3A2630B7-EF19-6042-A7B0-C7308828D70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4C933791-9B71-064E-8E05-C11F9FDDD71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0519831-5FCB-0E4B-B7D7-2D3BABA50794}" type="slidenum">
              <a:rPr lang="de-DE" altLang="de-DE"/>
              <a:pPr/>
              <a:t>16</a:t>
            </a:fld>
            <a:endParaRPr lang="de-DE" altLang="de-DE"/>
          </a:p>
        </p:txBody>
      </p:sp>
      <p:sp>
        <p:nvSpPr>
          <p:cNvPr id="71682" name="Rectangle 2">
            <a:extLst>
              <a:ext uri="{FF2B5EF4-FFF2-40B4-BE49-F238E27FC236}">
                <a16:creationId xmlns:a16="http://schemas.microsoft.com/office/drawing/2014/main" id="{A0F9766C-C0AF-E347-AEBD-60DF7D5209F6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>
            <a:extLst>
              <a:ext uri="{FF2B5EF4-FFF2-40B4-BE49-F238E27FC236}">
                <a16:creationId xmlns:a16="http://schemas.microsoft.com/office/drawing/2014/main" id="{78F39A81-606F-394A-82EA-DA2AFED10BF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67A8D9E5-2D4A-F643-9119-D47098D0BC2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5282F14-87E7-2B4E-A03B-4F96B2867799}" type="slidenum">
              <a:rPr lang="de-DE" altLang="de-DE"/>
              <a:pPr/>
              <a:t>17</a:t>
            </a:fld>
            <a:endParaRPr lang="de-DE" altLang="de-DE"/>
          </a:p>
        </p:txBody>
      </p:sp>
      <p:sp>
        <p:nvSpPr>
          <p:cNvPr id="62466" name="Rectangle 2">
            <a:extLst>
              <a:ext uri="{FF2B5EF4-FFF2-40B4-BE49-F238E27FC236}">
                <a16:creationId xmlns:a16="http://schemas.microsoft.com/office/drawing/2014/main" id="{074E69C6-C7B0-9349-95F9-6FF3F7F815EE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2467" name="Rectangle 3">
            <a:extLst>
              <a:ext uri="{FF2B5EF4-FFF2-40B4-BE49-F238E27FC236}">
                <a16:creationId xmlns:a16="http://schemas.microsoft.com/office/drawing/2014/main" id="{8CE0096B-1AFC-D34C-AC65-F9C15E228D0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6210437C-0B8F-3B41-9FB6-998DD3FA0BF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A5A1C20-029F-6440-B215-FFE1EDED8204}" type="slidenum">
              <a:rPr lang="de-DE" altLang="de-DE"/>
              <a:pPr/>
              <a:t>18</a:t>
            </a:fld>
            <a:endParaRPr lang="de-DE" altLang="de-DE"/>
          </a:p>
        </p:txBody>
      </p:sp>
      <p:sp>
        <p:nvSpPr>
          <p:cNvPr id="102402" name="Rectangle 2">
            <a:extLst>
              <a:ext uri="{FF2B5EF4-FFF2-40B4-BE49-F238E27FC236}">
                <a16:creationId xmlns:a16="http://schemas.microsoft.com/office/drawing/2014/main" id="{24B00DD2-34BF-5F44-861A-0B7949CAA940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03" name="Rectangle 3">
            <a:extLst>
              <a:ext uri="{FF2B5EF4-FFF2-40B4-BE49-F238E27FC236}">
                <a16:creationId xmlns:a16="http://schemas.microsoft.com/office/drawing/2014/main" id="{A23AF51C-F79F-3C48-B529-0C81D5536FE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BF499D51-D215-9742-8E01-663B6E4BEE0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9E07032-5136-4C42-A3F5-17A91785ED4B}" type="slidenum">
              <a:rPr lang="de-DE" altLang="de-DE"/>
              <a:pPr/>
              <a:t>19</a:t>
            </a:fld>
            <a:endParaRPr lang="de-DE" altLang="de-DE"/>
          </a:p>
        </p:txBody>
      </p:sp>
      <p:sp>
        <p:nvSpPr>
          <p:cNvPr id="25602" name="Rectangle 2">
            <a:extLst>
              <a:ext uri="{FF2B5EF4-FFF2-40B4-BE49-F238E27FC236}">
                <a16:creationId xmlns:a16="http://schemas.microsoft.com/office/drawing/2014/main" id="{645A305A-F8C5-914E-B175-A069D32586A1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25603" name="Rectangle 3">
            <a:extLst>
              <a:ext uri="{FF2B5EF4-FFF2-40B4-BE49-F238E27FC236}">
                <a16:creationId xmlns:a16="http://schemas.microsoft.com/office/drawing/2014/main" id="{76BAD780-F7C0-F742-AE07-A943E2E9B69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87388" y="4343400"/>
            <a:ext cx="5483225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2C95E78A-30BD-3041-8AAE-8A83C1368CC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A786349-DA6A-FD40-80F8-D026383E700A}" type="slidenum">
              <a:rPr lang="de-DE" altLang="de-DE"/>
              <a:pPr/>
              <a:t>2</a:t>
            </a:fld>
            <a:endParaRPr lang="de-DE" altLang="de-DE"/>
          </a:p>
        </p:txBody>
      </p:sp>
      <p:sp>
        <p:nvSpPr>
          <p:cNvPr id="39938" name="Rectangle 2">
            <a:extLst>
              <a:ext uri="{FF2B5EF4-FFF2-40B4-BE49-F238E27FC236}">
                <a16:creationId xmlns:a16="http://schemas.microsoft.com/office/drawing/2014/main" id="{98E767EF-8EDD-9948-90D4-E6AA73DFB55A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xfrm>
            <a:off x="1128713" y="701675"/>
            <a:ext cx="4586287" cy="3440113"/>
          </a:xfrm>
          <a:ln/>
        </p:spPr>
      </p:sp>
      <p:sp>
        <p:nvSpPr>
          <p:cNvPr id="39939" name="Rectangle 3">
            <a:extLst>
              <a:ext uri="{FF2B5EF4-FFF2-40B4-BE49-F238E27FC236}">
                <a16:creationId xmlns:a16="http://schemas.microsoft.com/office/drawing/2014/main" id="{12D5941E-4B64-CF48-905E-60EFEFBDFB8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22338" y="4351338"/>
            <a:ext cx="4997450" cy="4140200"/>
          </a:xfrm>
        </p:spPr>
        <p:txBody>
          <a:bodyPr/>
          <a:lstStyle/>
          <a:p>
            <a:endParaRPr lang="de-DE" altLang="de-DE" sz="100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0BE16BC2-B211-A740-A502-CD1B08E8AC0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A8F50B4-21B6-5F46-BFFB-B850E3685E2E}" type="slidenum">
              <a:rPr lang="de-DE" altLang="de-DE"/>
              <a:pPr/>
              <a:t>20</a:t>
            </a:fld>
            <a:endParaRPr lang="de-DE" altLang="de-DE"/>
          </a:p>
        </p:txBody>
      </p:sp>
      <p:sp>
        <p:nvSpPr>
          <p:cNvPr id="46082" name="Rectangle 2">
            <a:extLst>
              <a:ext uri="{FF2B5EF4-FFF2-40B4-BE49-F238E27FC236}">
                <a16:creationId xmlns:a16="http://schemas.microsoft.com/office/drawing/2014/main" id="{BC458C55-D8B6-4446-9D18-0CE77EBA3B2B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46083" name="Rectangle 3">
            <a:extLst>
              <a:ext uri="{FF2B5EF4-FFF2-40B4-BE49-F238E27FC236}">
                <a16:creationId xmlns:a16="http://schemas.microsoft.com/office/drawing/2014/main" id="{32E5C813-69A9-DD49-AC92-1449B30BC21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87388" y="4343400"/>
            <a:ext cx="5483225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90839F82-A7AA-B248-BF86-0DF059B0D98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FB95833-0120-FC43-8B23-0C528AA88101}" type="slidenum">
              <a:rPr lang="de-DE" altLang="de-DE"/>
              <a:pPr/>
              <a:t>21</a:t>
            </a:fld>
            <a:endParaRPr lang="de-DE" altLang="de-DE"/>
          </a:p>
        </p:txBody>
      </p:sp>
      <p:sp>
        <p:nvSpPr>
          <p:cNvPr id="29698" name="Rectangle 2">
            <a:extLst>
              <a:ext uri="{FF2B5EF4-FFF2-40B4-BE49-F238E27FC236}">
                <a16:creationId xmlns:a16="http://schemas.microsoft.com/office/drawing/2014/main" id="{EA5F70BF-6B60-8746-9E0E-C95ADEC9585B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29699" name="Rectangle 3">
            <a:extLst>
              <a:ext uri="{FF2B5EF4-FFF2-40B4-BE49-F238E27FC236}">
                <a16:creationId xmlns:a16="http://schemas.microsoft.com/office/drawing/2014/main" id="{00708040-A63E-4543-BC95-B040C299B79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87388" y="4343400"/>
            <a:ext cx="5483225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B84B0088-4D2D-D74B-9CBF-5295772845C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89DAF23-A371-5641-B47B-68E2DC94A542}" type="slidenum">
              <a:rPr lang="de-DE" altLang="de-DE"/>
              <a:pPr/>
              <a:t>22</a:t>
            </a:fld>
            <a:endParaRPr lang="de-DE" altLang="de-DE"/>
          </a:p>
        </p:txBody>
      </p:sp>
      <p:sp>
        <p:nvSpPr>
          <p:cNvPr id="104450" name="Rectangle 2">
            <a:extLst>
              <a:ext uri="{FF2B5EF4-FFF2-40B4-BE49-F238E27FC236}">
                <a16:creationId xmlns:a16="http://schemas.microsoft.com/office/drawing/2014/main" id="{634B7C23-240D-DA46-BB54-4D2054F9E526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4451" name="Rectangle 3">
            <a:extLst>
              <a:ext uri="{FF2B5EF4-FFF2-40B4-BE49-F238E27FC236}">
                <a16:creationId xmlns:a16="http://schemas.microsoft.com/office/drawing/2014/main" id="{382C0A0C-435D-3142-9898-4E7B3362BA5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B304B33D-7D17-FB43-8AFD-9B21FAC3F4D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6DB1877-50CD-D345-8BCB-328D90831CDC}" type="slidenum">
              <a:rPr lang="de-DE" altLang="de-DE"/>
              <a:pPr/>
              <a:t>23</a:t>
            </a:fld>
            <a:endParaRPr lang="de-DE" altLang="de-DE"/>
          </a:p>
        </p:txBody>
      </p:sp>
      <p:sp>
        <p:nvSpPr>
          <p:cNvPr id="65538" name="Rectangle 2">
            <a:extLst>
              <a:ext uri="{FF2B5EF4-FFF2-40B4-BE49-F238E27FC236}">
                <a16:creationId xmlns:a16="http://schemas.microsoft.com/office/drawing/2014/main" id="{E50D0A75-D05F-AD49-9001-FA18D6CF4315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5539" name="Rectangle 3">
            <a:extLst>
              <a:ext uri="{FF2B5EF4-FFF2-40B4-BE49-F238E27FC236}">
                <a16:creationId xmlns:a16="http://schemas.microsoft.com/office/drawing/2014/main" id="{0D1383C9-2E8B-E240-BB28-C27D492BD46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F36CA873-C44E-0344-B4D2-9D34B54579E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E399F75-CB97-754E-B707-DB2636FB1204}" type="slidenum">
              <a:rPr lang="de-DE" altLang="de-DE"/>
              <a:pPr/>
              <a:t>24</a:t>
            </a:fld>
            <a:endParaRPr lang="de-DE" altLang="de-DE"/>
          </a:p>
        </p:txBody>
      </p:sp>
      <p:sp>
        <p:nvSpPr>
          <p:cNvPr id="106498" name="Rectangle 2">
            <a:extLst>
              <a:ext uri="{FF2B5EF4-FFF2-40B4-BE49-F238E27FC236}">
                <a16:creationId xmlns:a16="http://schemas.microsoft.com/office/drawing/2014/main" id="{94994288-788E-4C4A-81FC-4AFFEE8E5ED8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6499" name="Rectangle 3">
            <a:extLst>
              <a:ext uri="{FF2B5EF4-FFF2-40B4-BE49-F238E27FC236}">
                <a16:creationId xmlns:a16="http://schemas.microsoft.com/office/drawing/2014/main" id="{4B9DF8CD-8B36-8945-9A92-79B334B2514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D23B0ECC-247C-2147-9D86-D53C01A9A97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503880-0AB7-084A-A6A9-2EB231919145}" type="slidenum">
              <a:rPr lang="de-DE" altLang="de-DE"/>
              <a:pPr/>
              <a:t>25</a:t>
            </a:fld>
            <a:endParaRPr lang="de-DE" altLang="de-DE"/>
          </a:p>
        </p:txBody>
      </p:sp>
      <p:sp>
        <p:nvSpPr>
          <p:cNvPr id="59394" name="Rectangle 2">
            <a:extLst>
              <a:ext uri="{FF2B5EF4-FFF2-40B4-BE49-F238E27FC236}">
                <a16:creationId xmlns:a16="http://schemas.microsoft.com/office/drawing/2014/main" id="{4DC4BE0C-70CD-A540-9D0B-89D0C292B752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9395" name="Rectangle 3">
            <a:extLst>
              <a:ext uri="{FF2B5EF4-FFF2-40B4-BE49-F238E27FC236}">
                <a16:creationId xmlns:a16="http://schemas.microsoft.com/office/drawing/2014/main" id="{977CBFFE-C736-EF41-9D22-DCE636AD66D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F6E9E93F-721B-9F41-8073-4CCE29B8B5C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97D7B85-6918-CD49-8D35-0740E3AA706F}" type="slidenum">
              <a:rPr lang="de-DE" altLang="de-DE"/>
              <a:pPr/>
              <a:t>26</a:t>
            </a:fld>
            <a:endParaRPr lang="de-DE" altLang="de-DE"/>
          </a:p>
        </p:txBody>
      </p:sp>
      <p:sp>
        <p:nvSpPr>
          <p:cNvPr id="108546" name="Rectangle 2">
            <a:extLst>
              <a:ext uri="{FF2B5EF4-FFF2-40B4-BE49-F238E27FC236}">
                <a16:creationId xmlns:a16="http://schemas.microsoft.com/office/drawing/2014/main" id="{939E5867-B624-1A4A-AF11-61BC27F48D58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8547" name="Rectangle 3">
            <a:extLst>
              <a:ext uri="{FF2B5EF4-FFF2-40B4-BE49-F238E27FC236}">
                <a16:creationId xmlns:a16="http://schemas.microsoft.com/office/drawing/2014/main" id="{64AD2CD9-3C28-4646-B876-0079209E560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0F097B96-4654-B94D-9642-73815F1FDB6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51C7C69-7FAB-C545-9899-AD201E0E5992}" type="slidenum">
              <a:rPr lang="de-DE" altLang="de-DE"/>
              <a:pPr/>
              <a:t>27</a:t>
            </a:fld>
            <a:endParaRPr lang="de-DE" altLang="de-DE"/>
          </a:p>
        </p:txBody>
      </p:sp>
      <p:sp>
        <p:nvSpPr>
          <p:cNvPr id="73730" name="Rectangle 2">
            <a:extLst>
              <a:ext uri="{FF2B5EF4-FFF2-40B4-BE49-F238E27FC236}">
                <a16:creationId xmlns:a16="http://schemas.microsoft.com/office/drawing/2014/main" id="{71DE26E4-E06F-B043-9B11-E55C0E548B27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731" name="Rectangle 3">
            <a:extLst>
              <a:ext uri="{FF2B5EF4-FFF2-40B4-BE49-F238E27FC236}">
                <a16:creationId xmlns:a16="http://schemas.microsoft.com/office/drawing/2014/main" id="{BEFEC64C-7348-F243-8230-02A5773FD05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3294C89E-6602-9F42-8681-B650024AD35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EE2C619-9240-F644-A101-7B397092B000}" type="slidenum">
              <a:rPr lang="de-DE" altLang="de-DE"/>
              <a:pPr/>
              <a:t>28</a:t>
            </a:fld>
            <a:endParaRPr lang="de-DE" altLang="de-DE"/>
          </a:p>
        </p:txBody>
      </p:sp>
      <p:sp>
        <p:nvSpPr>
          <p:cNvPr id="75778" name="Rectangle 2">
            <a:extLst>
              <a:ext uri="{FF2B5EF4-FFF2-40B4-BE49-F238E27FC236}">
                <a16:creationId xmlns:a16="http://schemas.microsoft.com/office/drawing/2014/main" id="{2BA5E97A-A8C9-8749-A6EA-63406A156A2C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79" name="Rectangle 3">
            <a:extLst>
              <a:ext uri="{FF2B5EF4-FFF2-40B4-BE49-F238E27FC236}">
                <a16:creationId xmlns:a16="http://schemas.microsoft.com/office/drawing/2014/main" id="{2ED17C3A-6F1C-B645-80AC-7948FFD993D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EB9DE835-254F-EC46-92DB-176DDE2366A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03E4AAD-85ED-DF46-A20E-6B3D29A4CAF1}" type="slidenum">
              <a:rPr lang="de-DE" altLang="de-DE"/>
              <a:pPr/>
              <a:t>29</a:t>
            </a:fld>
            <a:endParaRPr lang="de-DE" altLang="de-DE"/>
          </a:p>
        </p:txBody>
      </p:sp>
      <p:sp>
        <p:nvSpPr>
          <p:cNvPr id="77826" name="Rectangle 2">
            <a:extLst>
              <a:ext uri="{FF2B5EF4-FFF2-40B4-BE49-F238E27FC236}">
                <a16:creationId xmlns:a16="http://schemas.microsoft.com/office/drawing/2014/main" id="{B68283A1-D39D-124A-88BE-D69C9956D012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7827" name="Rectangle 3">
            <a:extLst>
              <a:ext uri="{FF2B5EF4-FFF2-40B4-BE49-F238E27FC236}">
                <a16:creationId xmlns:a16="http://schemas.microsoft.com/office/drawing/2014/main" id="{6E83946B-45B4-884D-BF01-5FE73991BB4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A1CE15C2-4D8D-F341-82AF-B90B7760E8E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5DD61FD-DD8D-8B4C-8778-293CD7A114F0}" type="slidenum">
              <a:rPr lang="de-DE" altLang="de-DE"/>
              <a:pPr/>
              <a:t>3</a:t>
            </a:fld>
            <a:endParaRPr lang="de-DE" altLang="de-DE"/>
          </a:p>
        </p:txBody>
      </p:sp>
      <p:sp>
        <p:nvSpPr>
          <p:cNvPr id="55298" name="Rectangle 2">
            <a:extLst>
              <a:ext uri="{FF2B5EF4-FFF2-40B4-BE49-F238E27FC236}">
                <a16:creationId xmlns:a16="http://schemas.microsoft.com/office/drawing/2014/main" id="{C515F376-1F40-1244-81E5-3926BE39D15D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299" name="Rectangle 3">
            <a:extLst>
              <a:ext uri="{FF2B5EF4-FFF2-40B4-BE49-F238E27FC236}">
                <a16:creationId xmlns:a16="http://schemas.microsoft.com/office/drawing/2014/main" id="{FA817B30-B91D-354A-94B1-A1690F6297D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6ED7ADC9-DA74-5645-9897-AE4C43CB3E3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722C6FB-8E24-CB43-A909-8F3980C69DFA}" type="slidenum">
              <a:rPr lang="de-DE" altLang="de-DE"/>
              <a:pPr/>
              <a:t>30</a:t>
            </a:fld>
            <a:endParaRPr lang="de-DE" altLang="de-DE"/>
          </a:p>
        </p:txBody>
      </p:sp>
      <p:sp>
        <p:nvSpPr>
          <p:cNvPr id="79874" name="Rectangle 2">
            <a:extLst>
              <a:ext uri="{FF2B5EF4-FFF2-40B4-BE49-F238E27FC236}">
                <a16:creationId xmlns:a16="http://schemas.microsoft.com/office/drawing/2014/main" id="{A3A3B591-665D-8B42-997E-4432C2E8168C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9875" name="Rectangle 3">
            <a:extLst>
              <a:ext uri="{FF2B5EF4-FFF2-40B4-BE49-F238E27FC236}">
                <a16:creationId xmlns:a16="http://schemas.microsoft.com/office/drawing/2014/main" id="{63A5A9FA-CCC6-264D-B36E-1CD3EA8E74C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677B3872-9712-EE43-A3DE-F50C127C5CB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18A904B-20AE-BD4F-B866-0FA6B6D5DB43}" type="slidenum">
              <a:rPr lang="de-DE" altLang="de-DE"/>
              <a:pPr/>
              <a:t>31</a:t>
            </a:fld>
            <a:endParaRPr lang="de-DE" altLang="de-DE"/>
          </a:p>
        </p:txBody>
      </p:sp>
      <p:sp>
        <p:nvSpPr>
          <p:cNvPr id="81922" name="Rectangle 2">
            <a:extLst>
              <a:ext uri="{FF2B5EF4-FFF2-40B4-BE49-F238E27FC236}">
                <a16:creationId xmlns:a16="http://schemas.microsoft.com/office/drawing/2014/main" id="{49293CFF-28FA-3043-BD85-A3A2CC58D59B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23" name="Rectangle 3">
            <a:extLst>
              <a:ext uri="{FF2B5EF4-FFF2-40B4-BE49-F238E27FC236}">
                <a16:creationId xmlns:a16="http://schemas.microsoft.com/office/drawing/2014/main" id="{0DA4D563-DE85-4A49-97E7-EBE29876C11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233D1B4D-3421-A440-B044-A8517B29B6E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33BCEB2-2EF0-8545-921A-9FB740110DB9}" type="slidenum">
              <a:rPr lang="de-DE" altLang="de-DE"/>
              <a:pPr/>
              <a:t>32</a:t>
            </a:fld>
            <a:endParaRPr lang="de-DE" altLang="de-DE"/>
          </a:p>
        </p:txBody>
      </p:sp>
      <p:sp>
        <p:nvSpPr>
          <p:cNvPr id="90114" name="Rectangle 2">
            <a:extLst>
              <a:ext uri="{FF2B5EF4-FFF2-40B4-BE49-F238E27FC236}">
                <a16:creationId xmlns:a16="http://schemas.microsoft.com/office/drawing/2014/main" id="{C90282F0-AFCF-F74E-A24F-6401B9E1AEDF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0115" name="Rectangle 3">
            <a:extLst>
              <a:ext uri="{FF2B5EF4-FFF2-40B4-BE49-F238E27FC236}">
                <a16:creationId xmlns:a16="http://schemas.microsoft.com/office/drawing/2014/main" id="{B3F80F91-680B-C54E-BC37-9BEB440915A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D16C67E4-F893-CA41-8CF9-5FDDCB9D120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DE55CA4-5C91-2147-A5EB-E41A077C9132}" type="slidenum">
              <a:rPr lang="de-DE" altLang="de-DE"/>
              <a:pPr/>
              <a:t>33</a:t>
            </a:fld>
            <a:endParaRPr lang="de-DE" altLang="de-DE"/>
          </a:p>
        </p:txBody>
      </p:sp>
      <p:sp>
        <p:nvSpPr>
          <p:cNvPr id="83970" name="Rectangle 2">
            <a:extLst>
              <a:ext uri="{FF2B5EF4-FFF2-40B4-BE49-F238E27FC236}">
                <a16:creationId xmlns:a16="http://schemas.microsoft.com/office/drawing/2014/main" id="{06D223D5-972B-DC47-914D-A27370305C68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3971" name="Rectangle 3">
            <a:extLst>
              <a:ext uri="{FF2B5EF4-FFF2-40B4-BE49-F238E27FC236}">
                <a16:creationId xmlns:a16="http://schemas.microsoft.com/office/drawing/2014/main" id="{0F564ACC-29EE-7148-A016-2875235F941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87E79F95-734A-4A47-B79B-283B84357E0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3FB7CCC-0CB4-6344-9E5F-DA6B8C271ADB}" type="slidenum">
              <a:rPr lang="de-DE" altLang="de-DE"/>
              <a:pPr/>
              <a:t>34</a:t>
            </a:fld>
            <a:endParaRPr lang="de-DE" altLang="de-DE"/>
          </a:p>
        </p:txBody>
      </p:sp>
      <p:sp>
        <p:nvSpPr>
          <p:cNvPr id="86018" name="Rectangle 2">
            <a:extLst>
              <a:ext uri="{FF2B5EF4-FFF2-40B4-BE49-F238E27FC236}">
                <a16:creationId xmlns:a16="http://schemas.microsoft.com/office/drawing/2014/main" id="{995A1297-857B-624C-BCDA-7F963CE14734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6019" name="Rectangle 3">
            <a:extLst>
              <a:ext uri="{FF2B5EF4-FFF2-40B4-BE49-F238E27FC236}">
                <a16:creationId xmlns:a16="http://schemas.microsoft.com/office/drawing/2014/main" id="{92F53BE1-235D-A34A-BDBC-1010139FD53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r>
              <a:rPr lang="de-DE" altLang="de-DE"/>
              <a:t>.</a:t>
            </a: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C18D810E-84AC-7C41-85D5-358867E575C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16B3AE4-9296-8643-A90B-0316CA3007F2}" type="slidenum">
              <a:rPr lang="de-DE" altLang="de-DE"/>
              <a:pPr/>
              <a:t>35</a:t>
            </a:fld>
            <a:endParaRPr lang="de-DE" altLang="de-DE"/>
          </a:p>
        </p:txBody>
      </p:sp>
      <p:sp>
        <p:nvSpPr>
          <p:cNvPr id="88066" name="Rectangle 2">
            <a:extLst>
              <a:ext uri="{FF2B5EF4-FFF2-40B4-BE49-F238E27FC236}">
                <a16:creationId xmlns:a16="http://schemas.microsoft.com/office/drawing/2014/main" id="{A42589C9-7A10-0147-967C-C09C9F5A695A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>
            <a:extLst>
              <a:ext uri="{FF2B5EF4-FFF2-40B4-BE49-F238E27FC236}">
                <a16:creationId xmlns:a16="http://schemas.microsoft.com/office/drawing/2014/main" id="{49780FA3-FDD0-FC4B-86B0-BAA1B2CD96B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02F43A6C-E319-2148-8919-8CC76FA7F30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B830BB9-B3A0-AC45-8AEC-959D4FAFB91D}" type="slidenum">
              <a:rPr lang="de-DE" altLang="de-DE"/>
              <a:pPr/>
              <a:t>36</a:t>
            </a:fld>
            <a:endParaRPr lang="de-DE" altLang="de-DE"/>
          </a:p>
        </p:txBody>
      </p:sp>
      <p:sp>
        <p:nvSpPr>
          <p:cNvPr id="110594" name="Rectangle 2">
            <a:extLst>
              <a:ext uri="{FF2B5EF4-FFF2-40B4-BE49-F238E27FC236}">
                <a16:creationId xmlns:a16="http://schemas.microsoft.com/office/drawing/2014/main" id="{55912397-8F4C-DE49-BD98-E77E67F82556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>
            <a:extLst>
              <a:ext uri="{FF2B5EF4-FFF2-40B4-BE49-F238E27FC236}">
                <a16:creationId xmlns:a16="http://schemas.microsoft.com/office/drawing/2014/main" id="{2733F275-67B6-F240-8951-06145E2D18D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FF96B848-A9D2-5D4F-9257-89EDB4BE21C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D88B480-E3A5-454D-B2C6-425B9ACF252E}" type="slidenum">
              <a:rPr lang="de-DE" altLang="de-DE"/>
              <a:pPr/>
              <a:t>37</a:t>
            </a:fld>
            <a:endParaRPr lang="de-DE" altLang="de-DE"/>
          </a:p>
        </p:txBody>
      </p:sp>
      <p:sp>
        <p:nvSpPr>
          <p:cNvPr id="56322" name="Rectangle 2">
            <a:extLst>
              <a:ext uri="{FF2B5EF4-FFF2-40B4-BE49-F238E27FC236}">
                <a16:creationId xmlns:a16="http://schemas.microsoft.com/office/drawing/2014/main" id="{574CC682-2010-634B-87E2-CD27928D8F1F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3" name="Rectangle 3">
            <a:extLst>
              <a:ext uri="{FF2B5EF4-FFF2-40B4-BE49-F238E27FC236}">
                <a16:creationId xmlns:a16="http://schemas.microsoft.com/office/drawing/2014/main" id="{52AEAE92-F206-D043-B42C-6339F63B44E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83C97DB7-E0E6-4E40-88A1-0E9CC8181C6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24B1EAF-80DD-654A-9DDB-13D429BB3228}" type="slidenum">
              <a:rPr lang="de-DE" altLang="de-DE"/>
              <a:pPr/>
              <a:t>4</a:t>
            </a:fld>
            <a:endParaRPr lang="de-DE" altLang="de-DE"/>
          </a:p>
        </p:txBody>
      </p:sp>
      <p:sp>
        <p:nvSpPr>
          <p:cNvPr id="69634" name="Rectangle 2">
            <a:extLst>
              <a:ext uri="{FF2B5EF4-FFF2-40B4-BE49-F238E27FC236}">
                <a16:creationId xmlns:a16="http://schemas.microsoft.com/office/drawing/2014/main" id="{A9F53779-9C68-1D40-82AA-4C93A4D66628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5" name="Rectangle 3">
            <a:extLst>
              <a:ext uri="{FF2B5EF4-FFF2-40B4-BE49-F238E27FC236}">
                <a16:creationId xmlns:a16="http://schemas.microsoft.com/office/drawing/2014/main" id="{85593AE3-7A15-CC4A-8350-2D122F69EBE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7A4894B-695E-194A-8779-92352083AEB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3B94259-E00C-534C-B359-24388454B138}" type="slidenum">
              <a:rPr lang="de-DE" altLang="de-DE"/>
              <a:pPr/>
              <a:t>5</a:t>
            </a:fld>
            <a:endParaRPr lang="de-DE" altLang="de-DE"/>
          </a:p>
        </p:txBody>
      </p:sp>
      <p:sp>
        <p:nvSpPr>
          <p:cNvPr id="15362" name="Rectangle 7">
            <a:extLst>
              <a:ext uri="{FF2B5EF4-FFF2-40B4-BE49-F238E27FC236}">
                <a16:creationId xmlns:a16="http://schemas.microsoft.com/office/drawing/2014/main" id="{942356A5-B9AC-2646-8ABA-C7174DC58DE2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867B885B-B8A2-CA4C-B16B-65115343AE9D}" type="slidenum">
              <a:rPr lang="de-DE" altLang="de-DE" sz="1200">
                <a:latin typeface="Times New Roman" panose="02020603050405020304" pitchFamily="18" charset="0"/>
              </a:rPr>
              <a:pPr algn="r"/>
              <a:t>5</a:t>
            </a:fld>
            <a:endParaRPr lang="de-DE" altLang="de-DE" sz="1200">
              <a:latin typeface="Times New Roman" panose="02020603050405020304" pitchFamily="18" charset="0"/>
            </a:endParaRPr>
          </a:p>
        </p:txBody>
      </p:sp>
      <p:sp>
        <p:nvSpPr>
          <p:cNvPr id="15363" name="Rectangle 2">
            <a:extLst>
              <a:ext uri="{FF2B5EF4-FFF2-40B4-BE49-F238E27FC236}">
                <a16:creationId xmlns:a16="http://schemas.microsoft.com/office/drawing/2014/main" id="{5C70DFC9-577E-6740-8E9C-4BCC2B6C2EE6}"/>
              </a:ext>
            </a:extLst>
          </p:cNvPr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4" name="Rectangle 3">
            <a:extLst>
              <a:ext uri="{FF2B5EF4-FFF2-40B4-BE49-F238E27FC236}">
                <a16:creationId xmlns:a16="http://schemas.microsoft.com/office/drawing/2014/main" id="{37DE8BFE-10DD-F64B-9985-795D080B489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5988" y="4343400"/>
            <a:ext cx="5026025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C7E1222D-709E-7041-8CF4-B53A7181C83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1323254-C47E-A749-90B3-53D2CB84282A}" type="slidenum">
              <a:rPr lang="de-DE" altLang="de-DE"/>
              <a:pPr/>
              <a:t>6</a:t>
            </a:fld>
            <a:endParaRPr lang="de-DE" altLang="de-DE"/>
          </a:p>
        </p:txBody>
      </p:sp>
      <p:sp>
        <p:nvSpPr>
          <p:cNvPr id="31746" name="Rectangle 2">
            <a:extLst>
              <a:ext uri="{FF2B5EF4-FFF2-40B4-BE49-F238E27FC236}">
                <a16:creationId xmlns:a16="http://schemas.microsoft.com/office/drawing/2014/main" id="{5A962FA8-AF11-A64F-AB90-D5306D7B5D30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>
            <a:extLst>
              <a:ext uri="{FF2B5EF4-FFF2-40B4-BE49-F238E27FC236}">
                <a16:creationId xmlns:a16="http://schemas.microsoft.com/office/drawing/2014/main" id="{9B62FC0D-F054-3E48-84A6-14F27DA0C49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F47A2D9A-5E9F-F04D-BAAB-760143EF065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FCAC77A-12B1-BB45-AA10-7BA005531786}" type="slidenum">
              <a:rPr lang="de-DE" altLang="de-DE"/>
              <a:pPr/>
              <a:t>7</a:t>
            </a:fld>
            <a:endParaRPr lang="de-DE" altLang="de-DE"/>
          </a:p>
        </p:txBody>
      </p:sp>
      <p:sp>
        <p:nvSpPr>
          <p:cNvPr id="33794" name="Rectangle 2">
            <a:extLst>
              <a:ext uri="{FF2B5EF4-FFF2-40B4-BE49-F238E27FC236}">
                <a16:creationId xmlns:a16="http://schemas.microsoft.com/office/drawing/2014/main" id="{E543F2F1-8DFD-2B48-B7A8-23B800F4B84A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5" name="Rectangle 3">
            <a:extLst>
              <a:ext uri="{FF2B5EF4-FFF2-40B4-BE49-F238E27FC236}">
                <a16:creationId xmlns:a16="http://schemas.microsoft.com/office/drawing/2014/main" id="{BDA5F9F9-A3A4-0944-A4FA-1A3A5BB4348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4BE0A976-804F-F64F-8B5A-C92E116BB15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31FF12C-EEDC-0B49-A83D-4FF69EA824EA}" type="slidenum">
              <a:rPr lang="de-DE" altLang="de-DE"/>
              <a:pPr/>
              <a:t>8</a:t>
            </a:fld>
            <a:endParaRPr lang="de-DE" altLang="de-DE"/>
          </a:p>
        </p:txBody>
      </p:sp>
      <p:sp>
        <p:nvSpPr>
          <p:cNvPr id="35842" name="Rectangle 2">
            <a:extLst>
              <a:ext uri="{FF2B5EF4-FFF2-40B4-BE49-F238E27FC236}">
                <a16:creationId xmlns:a16="http://schemas.microsoft.com/office/drawing/2014/main" id="{D885B905-5BFD-DE4B-B48E-7418A0DC657E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3" name="Rectangle 3">
            <a:extLst>
              <a:ext uri="{FF2B5EF4-FFF2-40B4-BE49-F238E27FC236}">
                <a16:creationId xmlns:a16="http://schemas.microsoft.com/office/drawing/2014/main" id="{62283F91-ADBF-1840-B0E7-4B735C2B286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01774283-1C82-2946-A6B8-4BFB689C6F5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10FB782-EEBA-CA4D-BB99-296A066923E1}" type="slidenum">
              <a:rPr lang="de-DE" altLang="de-DE"/>
              <a:pPr/>
              <a:t>9</a:t>
            </a:fld>
            <a:endParaRPr lang="de-DE" altLang="de-DE"/>
          </a:p>
        </p:txBody>
      </p:sp>
      <p:sp>
        <p:nvSpPr>
          <p:cNvPr id="92162" name="Rectangle 2">
            <a:extLst>
              <a:ext uri="{FF2B5EF4-FFF2-40B4-BE49-F238E27FC236}">
                <a16:creationId xmlns:a16="http://schemas.microsoft.com/office/drawing/2014/main" id="{13476F9A-1F11-CE41-95B8-C097B2005956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163" name="Rectangle 3">
            <a:extLst>
              <a:ext uri="{FF2B5EF4-FFF2-40B4-BE49-F238E27FC236}">
                <a16:creationId xmlns:a16="http://schemas.microsoft.com/office/drawing/2014/main" id="{21EE4C37-7FC1-8340-B9AD-641985A2B0D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59" name="Picture 187">
            <a:extLst>
              <a:ext uri="{FF2B5EF4-FFF2-40B4-BE49-F238E27FC236}">
                <a16:creationId xmlns:a16="http://schemas.microsoft.com/office/drawing/2014/main" id="{B0D6F4EB-07CF-3C4D-AF93-990262B833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23938"/>
            <a:ext cx="4060825" cy="5834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>
            <a:extLst>
              <a:ext uri="{FF2B5EF4-FFF2-40B4-BE49-F238E27FC236}">
                <a16:creationId xmlns:a16="http://schemas.microsoft.com/office/drawing/2014/main" id="{432C17B5-552B-2142-AC65-129E6B69604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827088" y="2346325"/>
            <a:ext cx="7772400" cy="1470025"/>
          </a:xfrm>
        </p:spPr>
        <p:txBody>
          <a:bodyPr/>
          <a:lstStyle>
            <a:lvl1pPr algn="r">
              <a:defRPr sz="3200" b="1"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3075" name="Rectangle 3">
            <a:extLst>
              <a:ext uri="{FF2B5EF4-FFF2-40B4-BE49-F238E27FC236}">
                <a16:creationId xmlns:a16="http://schemas.microsoft.com/office/drawing/2014/main" id="{AFB99D9B-8172-D14E-9642-C4013CE93DEA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200275" y="4102100"/>
            <a:ext cx="6400800" cy="1127125"/>
          </a:xfrm>
        </p:spPr>
        <p:txBody>
          <a:bodyPr/>
          <a:lstStyle>
            <a:lvl1pPr marL="0" indent="0" algn="r">
              <a:buFont typeface="Wingdings" pitchFamily="2" charset="2"/>
              <a:buNone/>
              <a:defRPr sz="2400"/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3076" name="Rectangle 4">
            <a:extLst>
              <a:ext uri="{FF2B5EF4-FFF2-40B4-BE49-F238E27FC236}">
                <a16:creationId xmlns:a16="http://schemas.microsoft.com/office/drawing/2014/main" id="{54C8B55A-CBB3-514B-A220-832964106DC1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de-DE" altLang="de-DE"/>
          </a:p>
        </p:txBody>
      </p:sp>
      <p:sp>
        <p:nvSpPr>
          <p:cNvPr id="3077" name="Rectangle 5">
            <a:extLst>
              <a:ext uri="{FF2B5EF4-FFF2-40B4-BE49-F238E27FC236}">
                <a16:creationId xmlns:a16="http://schemas.microsoft.com/office/drawing/2014/main" id="{95833F59-314B-194A-B9E7-A4F49A29B8A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altLang="de-DE"/>
              <a:t>Titel des Vortrags | Vorname Name | Veranstaltung &amp; Datum</a:t>
            </a:r>
          </a:p>
        </p:txBody>
      </p:sp>
      <p:sp>
        <p:nvSpPr>
          <p:cNvPr id="3078" name="Rectangle 6">
            <a:extLst>
              <a:ext uri="{FF2B5EF4-FFF2-40B4-BE49-F238E27FC236}">
                <a16:creationId xmlns:a16="http://schemas.microsoft.com/office/drawing/2014/main" id="{3847B358-EF0B-A547-82C3-5FE97DDFBDE2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5E4A6E-D003-D34F-A5FD-B2C9BDFD8704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3253" name="Rectangle 181">
            <a:extLst>
              <a:ext uri="{FF2B5EF4-FFF2-40B4-BE49-F238E27FC236}">
                <a16:creationId xmlns:a16="http://schemas.microsoft.com/office/drawing/2014/main" id="{C061C462-A73D-BA45-8B4C-0E7CCD1710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1196975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58" name="Text Box 186">
            <a:extLst>
              <a:ext uri="{FF2B5EF4-FFF2-40B4-BE49-F238E27FC236}">
                <a16:creationId xmlns:a16="http://schemas.microsoft.com/office/drawing/2014/main" id="{89F9E2B7-4669-8944-9CA6-40F5D15DE4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3850" y="6092825"/>
            <a:ext cx="1512888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altLang="de-DE" b="1">
                <a:solidFill>
                  <a:schemeClr val="bg1"/>
                </a:solidFill>
              </a:rPr>
              <a:t>www.che.de</a:t>
            </a:r>
          </a:p>
        </p:txBody>
      </p:sp>
      <p:pic>
        <p:nvPicPr>
          <p:cNvPr id="3260" name="Picture 188">
            <a:extLst>
              <a:ext uri="{FF2B5EF4-FFF2-40B4-BE49-F238E27FC236}">
                <a16:creationId xmlns:a16="http://schemas.microsoft.com/office/drawing/2014/main" id="{E4B2219E-FEE4-384F-9B3A-1D0C6BA2DB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9063" y="115888"/>
            <a:ext cx="2206625" cy="142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A97930-1F52-6D41-A547-A7F8E5C230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2D244FA-BAA5-324B-ADC3-25C9191221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E1D2BB6-CC71-1D48-AB5E-085C0C36D9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rum Zukunftsfragen, 13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13AE9E-1563-A148-9DAC-B3C7B107E2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3B891D5-E8BC-2E47-918C-F6DEC762FEBC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9314264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9A2C406-53C2-FD45-95B2-F0E5666E850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96063" y="44450"/>
            <a:ext cx="2090737" cy="6121400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A126E23-8B34-8249-A037-C8A95F8104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22263" y="44450"/>
            <a:ext cx="6121400" cy="612140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66FC7DD-B158-0342-ACEC-4AFBFC607A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rum Zukunftsfragen, 13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550023F-6C16-4741-A90C-A3483CC752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5574F99-B7DC-4149-B992-BE9DC9606FCD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828050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C99471A-55F4-E54D-9DE7-77F2A2A25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263" y="44450"/>
            <a:ext cx="6697662" cy="720725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963F6A-44AE-8F43-A583-DD8F7B95ACD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639888"/>
            <a:ext cx="8229600" cy="21859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5B13D30-8DE1-264D-854B-D8E14E1FED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3978275"/>
            <a:ext cx="8229600" cy="218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96940E-3BC6-8647-B7A0-C6E00BB9B5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79388" y="6524625"/>
            <a:ext cx="6264275" cy="476250"/>
          </a:xfr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Forum Zukunftsfragen, 13. Juni 2007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123C91B-3170-1F45-AEFF-B5D03802E9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831013" y="6553200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3641C9B2-1760-0743-84CF-9ABC51351BF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453957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1ED360-FB65-7A48-B152-0325E3AFF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2A57AC5-7819-3441-9777-F0C9D32390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11C83FF-7BC8-1440-BEEF-9DA09B1EBA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rum Zukunftsfragen, 13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D6A8D7E-65AD-7848-9D59-3BC06A4EDA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4918157-4132-C94C-A84A-57B7F81335CB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36784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1D8E33-39A8-1047-8BD8-4AEDE8334C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258D115-E037-834F-A8BC-D0B5FE740F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8F10A3D-4847-1646-B376-45BE26B9E9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rum Zukunftsfragen, 13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0261E0E-F207-D844-B747-A4EB01421D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C1E664C-7EF4-C64C-9392-89EBE6EC2F02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888879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16605-1BA1-1041-AF53-8E49F170E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9B69B31-5FF9-D14E-8142-8768C84D45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639888"/>
            <a:ext cx="4038600" cy="45259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2B0473A-08E0-424D-853C-CF52FCFEF8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639888"/>
            <a:ext cx="4038600" cy="45259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00B9FB-35A7-2446-A78E-C91672369E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rum Zukunftsfragen, 13. Juni 2007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303BAC2-3182-7343-BA34-C6C7C804E2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52259CF-89DA-F74A-890C-2F80B9594C90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882200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338797-ADDC-7042-B7A9-67976D2731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61F434E-32AE-7E4E-B6F0-DDCCF76782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AA42190-C71D-2641-8F2C-CACDE400C0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D33753-E4EB-9D41-AAB7-3FF41B960CB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C586628-5CFD-0547-A7E7-22F6E5B323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C5AD76F-ECDB-2E4A-84A0-28047056FA7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rum Zukunftsfragen, 13. Juni 2007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98BE896-A408-3A44-BC4C-11CE2B0D59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355BD35-98C3-B645-B471-DCD10DEC7D7B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006678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B051D8-C0DA-AF46-B564-4933E2A61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9FCD7EA-6804-0F40-8330-EC45810399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rum Zukunftsfragen, 13. Juni 2007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17E80C8-D0B3-2342-954A-0564F57D56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634C2CC-3F7E-044E-86E4-B7F688D7A6E5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961298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A78BD14-648F-EE4A-981A-68884E1919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rum Zukunftsfragen, 13. Juni 2007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6892DC3-BB83-FB47-8BCD-298A542656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BA2499-C24C-4549-9159-CC6E29B10E75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2863356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8EBBC2-DCD8-8644-920C-D79A2F2B70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7E8B80-01B4-5F4C-9827-69B692FE0B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018D694-FBF9-EF4B-A811-228574755A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83A2705-BA67-D347-86F2-9C8993ACB8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rum Zukunftsfragen, 13. Juni 2007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2DE0-E400-CF43-939D-7391A25A05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C26AF54-5C88-514D-8AC7-B07F21CF2920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519681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CD2F37-D562-D248-AEFA-D2A33A8EB0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3E69620-EED2-E049-8083-3C0B9C19A6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C49BA9A-027B-B24F-BD43-3349F9DBAE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AD26631-7CF5-3D42-AB22-7091AEB244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Forum Zukunftsfragen, 13. Juni 2007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D23D8EC-038E-C342-8407-88EC19C14D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EF0DB8A-4588-1946-AE55-031B066D32FF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3910356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5" name="Picture 11">
            <a:extLst>
              <a:ext uri="{FF2B5EF4-FFF2-40B4-BE49-F238E27FC236}">
                <a16:creationId xmlns:a16="http://schemas.microsoft.com/office/drawing/2014/main" id="{C20857AB-376D-4B48-A9F0-97203C6BE0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68375"/>
            <a:ext cx="8016875" cy="588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6" name="Rectangle 12">
            <a:extLst>
              <a:ext uri="{FF2B5EF4-FFF2-40B4-BE49-F238E27FC236}">
                <a16:creationId xmlns:a16="http://schemas.microsoft.com/office/drawing/2014/main" id="{292663F6-7495-2541-9BF6-7C541308B5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453188"/>
            <a:ext cx="9144000" cy="404812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32" name="Rectangle 8">
            <a:extLst>
              <a:ext uri="{FF2B5EF4-FFF2-40B4-BE49-F238E27FC236}">
                <a16:creationId xmlns:a16="http://schemas.microsoft.com/office/drawing/2014/main" id="{B492F5AC-A3AD-1E4E-A374-5E2AA08208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765175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26" name="Rectangle 2">
            <a:extLst>
              <a:ext uri="{FF2B5EF4-FFF2-40B4-BE49-F238E27FC236}">
                <a16:creationId xmlns:a16="http://schemas.microsoft.com/office/drawing/2014/main" id="{7A505350-4214-0647-B8EC-E4D48A9AC21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22263" y="44450"/>
            <a:ext cx="6697662" cy="72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BAB8232F-05FB-0741-B231-8E4AC38320D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39888"/>
            <a:ext cx="8229600" cy="452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1029" name="Rectangle 5">
            <a:extLst>
              <a:ext uri="{FF2B5EF4-FFF2-40B4-BE49-F238E27FC236}">
                <a16:creationId xmlns:a16="http://schemas.microsoft.com/office/drawing/2014/main" id="{3A7E3AD0-CAF2-7A42-9F7C-94A461AD3DD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79388" y="6524625"/>
            <a:ext cx="62642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414141"/>
                </a:solidFill>
              </a:defRPr>
            </a:lvl1pPr>
          </a:lstStyle>
          <a:p>
            <a:r>
              <a:rPr lang="de-DE" altLang="de-DE"/>
              <a:t>Forum Zukunftsfragen, 13. Juni 2007</a:t>
            </a:r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2C0A0D66-84C5-8547-8238-CE2AEE41C634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31013" y="655320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</a:defRPr>
            </a:lvl1pPr>
          </a:lstStyle>
          <a:p>
            <a:fld id="{A972DC14-1B48-4C45-89F1-9FFB8C1B1B91}" type="slidenum">
              <a:rPr lang="de-DE" altLang="de-DE"/>
              <a:pPr/>
              <a:t>‹Nr.›</a:t>
            </a:fld>
            <a:endParaRPr lang="de-DE" altLang="de-DE"/>
          </a:p>
        </p:txBody>
      </p:sp>
      <p:pic>
        <p:nvPicPr>
          <p:cNvPr id="1037" name="Picture 13">
            <a:extLst>
              <a:ext uri="{FF2B5EF4-FFF2-40B4-BE49-F238E27FC236}">
                <a16:creationId xmlns:a16="http://schemas.microsoft.com/office/drawing/2014/main" id="{060D3DC8-E646-304F-BA51-FAF2C1CEA0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625" y="115888"/>
            <a:ext cx="1270000" cy="576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2800" kern="1200">
          <a:solidFill>
            <a:srgbClr val="41414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2800" kern="1200">
          <a:solidFill>
            <a:srgbClr val="41414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–"/>
        <a:defRPr sz="2400" kern="1200">
          <a:solidFill>
            <a:srgbClr val="41414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Char char="•"/>
        <a:defRPr sz="2400" kern="1200">
          <a:solidFill>
            <a:srgbClr val="41414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Char char="–"/>
        <a:defRPr sz="2000" kern="1200">
          <a:solidFill>
            <a:srgbClr val="41414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Char char="»"/>
        <a:defRPr sz="2000" kern="1200">
          <a:solidFill>
            <a:srgbClr val="41414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.bin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19.emf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.bin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13" Type="http://schemas.openxmlformats.org/officeDocument/2006/relationships/oleObject" Target="../embeddings/oleObject9.bin"/><Relationship Id="rId18" Type="http://schemas.openxmlformats.org/officeDocument/2006/relationships/image" Target="../media/image26.emf"/><Relationship Id="rId3" Type="http://schemas.openxmlformats.org/officeDocument/2006/relationships/notesSlide" Target="../notesSlides/notesSlide28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23.emf"/><Relationship Id="rId17" Type="http://schemas.openxmlformats.org/officeDocument/2006/relationships/oleObject" Target="../embeddings/oleObject11.bin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5.emf"/><Relationship Id="rId1" Type="http://schemas.openxmlformats.org/officeDocument/2006/relationships/vmlDrawing" Target="../drawings/vmlDrawing4.vml"/><Relationship Id="rId6" Type="http://schemas.openxmlformats.org/officeDocument/2006/relationships/image" Target="../media/image20.emf"/><Relationship Id="rId11" Type="http://schemas.openxmlformats.org/officeDocument/2006/relationships/oleObject" Target="../embeddings/oleObject8.bin"/><Relationship Id="rId5" Type="http://schemas.openxmlformats.org/officeDocument/2006/relationships/oleObject" Target="../embeddings/oleObject5.bin"/><Relationship Id="rId15" Type="http://schemas.openxmlformats.org/officeDocument/2006/relationships/oleObject" Target="../embeddings/oleObject10.bin"/><Relationship Id="rId10" Type="http://schemas.openxmlformats.org/officeDocument/2006/relationships/image" Target="../media/image22.emf"/><Relationship Id="rId4" Type="http://schemas.openxmlformats.org/officeDocument/2006/relationships/image" Target="../media/image27.jpeg"/><Relationship Id="rId9" Type="http://schemas.openxmlformats.org/officeDocument/2006/relationships/oleObject" Target="../embeddings/oleObject7.bin"/><Relationship Id="rId14" Type="http://schemas.openxmlformats.org/officeDocument/2006/relationships/image" Target="../media/image24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3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4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5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6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7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.bin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>
            <a:extLst>
              <a:ext uri="{FF2B5EF4-FFF2-40B4-BE49-F238E27FC236}">
                <a16:creationId xmlns:a16="http://schemas.microsoft.com/office/drawing/2014/main" id="{CB486A46-338E-604F-B80A-B6EC3E4B0FF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de-DE" altLang="de-DE"/>
              <a:t>Bildung in Deutschland</a:t>
            </a:r>
            <a:br>
              <a:rPr lang="de-DE" altLang="de-DE"/>
            </a:br>
            <a:r>
              <a:rPr lang="de-DE" altLang="de-DE"/>
              <a:t> – gerecht verteilt?</a:t>
            </a:r>
          </a:p>
        </p:txBody>
      </p:sp>
      <p:sp>
        <p:nvSpPr>
          <p:cNvPr id="2051" name="Rectangle 3">
            <a:extLst>
              <a:ext uri="{FF2B5EF4-FFF2-40B4-BE49-F238E27FC236}">
                <a16:creationId xmlns:a16="http://schemas.microsoft.com/office/drawing/2014/main" id="{C6D5BBC9-B38E-864E-A8BC-DF2184836A9C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altLang="de-DE"/>
              <a:t>Detlef Müller-Böling</a:t>
            </a:r>
          </a:p>
          <a:p>
            <a:r>
              <a:rPr lang="de-DE" altLang="de-DE"/>
              <a:t>Forum Zukunftsfragen | Bad Neustadt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Fußzeilenplatzhalter 2">
            <a:extLst>
              <a:ext uri="{FF2B5EF4-FFF2-40B4-BE49-F238E27FC236}">
                <a16:creationId xmlns:a16="http://schemas.microsoft.com/office/drawing/2014/main" id="{2680EECC-F83D-A846-8776-D46D8EF3B1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82" name="Foliennummernplatzhalter 3">
            <a:extLst>
              <a:ext uri="{FF2B5EF4-FFF2-40B4-BE49-F238E27FC236}">
                <a16:creationId xmlns:a16="http://schemas.microsoft.com/office/drawing/2014/main" id="{BCE2F588-EE27-B94A-B2A1-396AFDF4D1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4AFB5CC-10F9-B144-A603-90A7E9A0C277}" type="slidenum">
              <a:rPr lang="de-DE" altLang="de-DE"/>
              <a:pPr/>
              <a:t>10</a:t>
            </a:fld>
            <a:endParaRPr lang="de-DE" altLang="de-DE"/>
          </a:p>
        </p:txBody>
      </p:sp>
      <p:grpSp>
        <p:nvGrpSpPr>
          <p:cNvPr id="40962" name="Group 2">
            <a:extLst>
              <a:ext uri="{FF2B5EF4-FFF2-40B4-BE49-F238E27FC236}">
                <a16:creationId xmlns:a16="http://schemas.microsoft.com/office/drawing/2014/main" id="{9D8AA1C4-5F87-AE42-892E-71BF89D72020}"/>
              </a:ext>
            </a:extLst>
          </p:cNvPr>
          <p:cNvGrpSpPr>
            <a:grpSpLocks/>
          </p:cNvGrpSpPr>
          <p:nvPr/>
        </p:nvGrpSpPr>
        <p:grpSpPr bwMode="auto">
          <a:xfrm>
            <a:off x="1109663" y="1817688"/>
            <a:ext cx="6845300" cy="4760912"/>
            <a:chOff x="204" y="255"/>
            <a:chExt cx="5352" cy="3812"/>
          </a:xfrm>
        </p:grpSpPr>
        <p:sp>
          <p:nvSpPr>
            <p:cNvPr id="40963" name="Rectangle 3">
              <a:extLst>
                <a:ext uri="{FF2B5EF4-FFF2-40B4-BE49-F238E27FC236}">
                  <a16:creationId xmlns:a16="http://schemas.microsoft.com/office/drawing/2014/main" id="{A8687DE6-6641-4744-BACB-F8D0810F96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" y="333"/>
              <a:ext cx="813" cy="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Deutschland</a:t>
              </a:r>
              <a:endParaRPr lang="de-DE" altLang="de-DE" sz="1600"/>
            </a:p>
          </p:txBody>
        </p:sp>
        <p:sp>
          <p:nvSpPr>
            <p:cNvPr id="40964" name="Rectangle 4">
              <a:extLst>
                <a:ext uri="{FF2B5EF4-FFF2-40B4-BE49-F238E27FC236}">
                  <a16:creationId xmlns:a16="http://schemas.microsoft.com/office/drawing/2014/main" id="{4BFAC15C-0ABE-0D40-9943-CFAD7ABDBB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" y="575"/>
              <a:ext cx="309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Note</a:t>
              </a:r>
              <a:endParaRPr lang="de-DE" altLang="de-DE" sz="1600"/>
            </a:p>
          </p:txBody>
        </p:sp>
        <p:sp>
          <p:nvSpPr>
            <p:cNvPr id="40965" name="Rectangle 5">
              <a:extLst>
                <a:ext uri="{FF2B5EF4-FFF2-40B4-BE49-F238E27FC236}">
                  <a16:creationId xmlns:a16="http://schemas.microsoft.com/office/drawing/2014/main" id="{0DC3CF7B-54C9-454E-B534-8983421661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1" y="575"/>
              <a:ext cx="16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M </a:t>
              </a:r>
              <a:endParaRPr lang="de-DE" altLang="de-DE" sz="1600"/>
            </a:p>
          </p:txBody>
        </p:sp>
        <p:sp>
          <p:nvSpPr>
            <p:cNvPr id="40966" name="Rectangle 6">
              <a:extLst>
                <a:ext uri="{FF2B5EF4-FFF2-40B4-BE49-F238E27FC236}">
                  <a16:creationId xmlns:a16="http://schemas.microsoft.com/office/drawing/2014/main" id="{14288DEE-C7FA-F146-B20F-48A619BFF0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3" y="575"/>
              <a:ext cx="29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(SE)</a:t>
              </a:r>
              <a:endParaRPr lang="de-DE" altLang="de-DE" sz="1600"/>
            </a:p>
          </p:txBody>
        </p:sp>
        <p:sp>
          <p:nvSpPr>
            <p:cNvPr id="40967" name="Rectangle 7">
              <a:extLst>
                <a:ext uri="{FF2B5EF4-FFF2-40B4-BE49-F238E27FC236}">
                  <a16:creationId xmlns:a16="http://schemas.microsoft.com/office/drawing/2014/main" id="{99D3BBEE-E21E-4643-A5D7-25FC7669A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4" y="575"/>
              <a:ext cx="203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SD</a:t>
              </a:r>
              <a:endParaRPr lang="de-DE" altLang="de-DE" sz="1600"/>
            </a:p>
          </p:txBody>
        </p:sp>
        <p:sp>
          <p:nvSpPr>
            <p:cNvPr id="40968" name="Rectangle 8">
              <a:extLst>
                <a:ext uri="{FF2B5EF4-FFF2-40B4-BE49-F238E27FC236}">
                  <a16:creationId xmlns:a16="http://schemas.microsoft.com/office/drawing/2014/main" id="{533F553F-A221-C144-9710-0C7E811A8F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" y="1157"/>
              <a:ext cx="81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1</a:t>
              </a:r>
              <a:endParaRPr lang="de-DE" altLang="de-DE" sz="1600"/>
            </a:p>
          </p:txBody>
        </p:sp>
        <p:sp>
          <p:nvSpPr>
            <p:cNvPr id="40969" name="Rectangle 9">
              <a:extLst>
                <a:ext uri="{FF2B5EF4-FFF2-40B4-BE49-F238E27FC236}">
                  <a16:creationId xmlns:a16="http://schemas.microsoft.com/office/drawing/2014/main" id="{CCCBE93D-7197-0B48-92E2-F9FB9D1AFF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5" y="1157"/>
              <a:ext cx="24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597</a:t>
              </a:r>
              <a:endParaRPr lang="de-DE" altLang="de-DE" sz="1600"/>
            </a:p>
          </p:txBody>
        </p:sp>
        <p:sp>
          <p:nvSpPr>
            <p:cNvPr id="40970" name="Rectangle 10">
              <a:extLst>
                <a:ext uri="{FF2B5EF4-FFF2-40B4-BE49-F238E27FC236}">
                  <a16:creationId xmlns:a16="http://schemas.microsoft.com/office/drawing/2014/main" id="{AF16A630-AECF-FE4F-9086-DEF898D0A7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7" y="1157"/>
              <a:ext cx="303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(4,1)</a:t>
              </a:r>
              <a:endParaRPr lang="de-DE" altLang="de-DE" sz="1600"/>
            </a:p>
          </p:txBody>
        </p:sp>
        <p:sp>
          <p:nvSpPr>
            <p:cNvPr id="40971" name="Rectangle 11">
              <a:extLst>
                <a:ext uri="{FF2B5EF4-FFF2-40B4-BE49-F238E27FC236}">
                  <a16:creationId xmlns:a16="http://schemas.microsoft.com/office/drawing/2014/main" id="{8A8BE374-16B4-5641-91C3-25DEA79B33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3" y="1157"/>
              <a:ext cx="162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49</a:t>
              </a:r>
              <a:endParaRPr lang="de-DE" altLang="de-DE" sz="1600"/>
            </a:p>
          </p:txBody>
        </p:sp>
        <p:sp>
          <p:nvSpPr>
            <p:cNvPr id="40972" name="Rectangle 12">
              <a:extLst>
                <a:ext uri="{FF2B5EF4-FFF2-40B4-BE49-F238E27FC236}">
                  <a16:creationId xmlns:a16="http://schemas.microsoft.com/office/drawing/2014/main" id="{30856317-BDC3-1248-A7DD-85A1E0569C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" y="1571"/>
              <a:ext cx="81" cy="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2</a:t>
              </a:r>
              <a:endParaRPr lang="de-DE" altLang="de-DE" sz="1600"/>
            </a:p>
          </p:txBody>
        </p:sp>
        <p:sp>
          <p:nvSpPr>
            <p:cNvPr id="40973" name="Rectangle 13">
              <a:extLst>
                <a:ext uri="{FF2B5EF4-FFF2-40B4-BE49-F238E27FC236}">
                  <a16:creationId xmlns:a16="http://schemas.microsoft.com/office/drawing/2014/main" id="{CA235550-6E85-CB48-969D-CFD625BF18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5" y="1571"/>
              <a:ext cx="244" cy="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572</a:t>
              </a:r>
              <a:endParaRPr lang="de-DE" altLang="de-DE" sz="1600"/>
            </a:p>
          </p:txBody>
        </p:sp>
        <p:sp>
          <p:nvSpPr>
            <p:cNvPr id="40974" name="Rectangle 14">
              <a:extLst>
                <a:ext uri="{FF2B5EF4-FFF2-40B4-BE49-F238E27FC236}">
                  <a16:creationId xmlns:a16="http://schemas.microsoft.com/office/drawing/2014/main" id="{E2A942EF-DC53-814F-B6F4-D92AFF27E5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7" y="1571"/>
              <a:ext cx="303" cy="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(2,1)</a:t>
              </a:r>
              <a:endParaRPr lang="de-DE" altLang="de-DE" sz="1600"/>
            </a:p>
          </p:txBody>
        </p:sp>
        <p:sp>
          <p:nvSpPr>
            <p:cNvPr id="40975" name="Rectangle 15">
              <a:extLst>
                <a:ext uri="{FF2B5EF4-FFF2-40B4-BE49-F238E27FC236}">
                  <a16:creationId xmlns:a16="http://schemas.microsoft.com/office/drawing/2014/main" id="{F5676391-10D5-5E4E-A585-C08122AE1B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3" y="1571"/>
              <a:ext cx="162" cy="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52</a:t>
              </a:r>
              <a:endParaRPr lang="de-DE" altLang="de-DE" sz="1600"/>
            </a:p>
          </p:txBody>
        </p:sp>
        <p:sp>
          <p:nvSpPr>
            <p:cNvPr id="40976" name="Rectangle 16">
              <a:extLst>
                <a:ext uri="{FF2B5EF4-FFF2-40B4-BE49-F238E27FC236}">
                  <a16:creationId xmlns:a16="http://schemas.microsoft.com/office/drawing/2014/main" id="{CA03EC13-4888-F345-88C6-9AEF89264E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" y="1982"/>
              <a:ext cx="81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3</a:t>
              </a:r>
              <a:endParaRPr lang="de-DE" altLang="de-DE" sz="1600"/>
            </a:p>
          </p:txBody>
        </p:sp>
        <p:sp>
          <p:nvSpPr>
            <p:cNvPr id="40977" name="Rectangle 17">
              <a:extLst>
                <a:ext uri="{FF2B5EF4-FFF2-40B4-BE49-F238E27FC236}">
                  <a16:creationId xmlns:a16="http://schemas.microsoft.com/office/drawing/2014/main" id="{B761E666-EEF1-854F-BC89-608959E2A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5" y="1982"/>
              <a:ext cx="24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533</a:t>
              </a:r>
              <a:endParaRPr lang="de-DE" altLang="de-DE" sz="1600"/>
            </a:p>
          </p:txBody>
        </p:sp>
        <p:sp>
          <p:nvSpPr>
            <p:cNvPr id="40978" name="Rectangle 18">
              <a:extLst>
                <a:ext uri="{FF2B5EF4-FFF2-40B4-BE49-F238E27FC236}">
                  <a16:creationId xmlns:a16="http://schemas.microsoft.com/office/drawing/2014/main" id="{94ABC83D-3448-F146-86B9-D4F228E005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7" y="1982"/>
              <a:ext cx="303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(2,3)</a:t>
              </a:r>
              <a:endParaRPr lang="de-DE" altLang="de-DE" sz="1600"/>
            </a:p>
          </p:txBody>
        </p:sp>
        <p:sp>
          <p:nvSpPr>
            <p:cNvPr id="40979" name="Rectangle 19">
              <a:extLst>
                <a:ext uri="{FF2B5EF4-FFF2-40B4-BE49-F238E27FC236}">
                  <a16:creationId xmlns:a16="http://schemas.microsoft.com/office/drawing/2014/main" id="{BFB783F9-5FCE-6E4A-89C7-97C494F226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3" y="1982"/>
              <a:ext cx="162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57</a:t>
              </a:r>
              <a:endParaRPr lang="de-DE" altLang="de-DE" sz="1600"/>
            </a:p>
          </p:txBody>
        </p:sp>
        <p:sp>
          <p:nvSpPr>
            <p:cNvPr id="40980" name="Rectangle 20">
              <a:extLst>
                <a:ext uri="{FF2B5EF4-FFF2-40B4-BE49-F238E27FC236}">
                  <a16:creationId xmlns:a16="http://schemas.microsoft.com/office/drawing/2014/main" id="{45C0D94D-DE45-3347-B66B-1AF55F65FC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" y="2394"/>
              <a:ext cx="432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4 bis 6</a:t>
              </a:r>
              <a:endParaRPr lang="de-DE" altLang="de-DE" sz="1600"/>
            </a:p>
          </p:txBody>
        </p:sp>
        <p:sp>
          <p:nvSpPr>
            <p:cNvPr id="40981" name="Rectangle 21">
              <a:extLst>
                <a:ext uri="{FF2B5EF4-FFF2-40B4-BE49-F238E27FC236}">
                  <a16:creationId xmlns:a16="http://schemas.microsoft.com/office/drawing/2014/main" id="{4E6184DA-96CB-6F45-9B9E-C7ECB9D455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5" y="2394"/>
              <a:ext cx="24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483</a:t>
              </a:r>
              <a:endParaRPr lang="de-DE" altLang="de-DE" sz="1600"/>
            </a:p>
          </p:txBody>
        </p:sp>
        <p:sp>
          <p:nvSpPr>
            <p:cNvPr id="40982" name="Rectangle 22">
              <a:extLst>
                <a:ext uri="{FF2B5EF4-FFF2-40B4-BE49-F238E27FC236}">
                  <a16:creationId xmlns:a16="http://schemas.microsoft.com/office/drawing/2014/main" id="{198FDCBD-5231-6C4C-883C-9FCB190B8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7" y="2394"/>
              <a:ext cx="303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(2,6)</a:t>
              </a:r>
              <a:endParaRPr lang="de-DE" altLang="de-DE" sz="1600"/>
            </a:p>
          </p:txBody>
        </p:sp>
        <p:sp>
          <p:nvSpPr>
            <p:cNvPr id="40983" name="Rectangle 23">
              <a:extLst>
                <a:ext uri="{FF2B5EF4-FFF2-40B4-BE49-F238E27FC236}">
                  <a16:creationId xmlns:a16="http://schemas.microsoft.com/office/drawing/2014/main" id="{370D997A-0B73-A345-94BE-C6F9537CFD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3" y="2394"/>
              <a:ext cx="162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61</a:t>
              </a:r>
              <a:endParaRPr lang="de-DE" altLang="de-DE" sz="1600"/>
            </a:p>
          </p:txBody>
        </p:sp>
        <p:sp>
          <p:nvSpPr>
            <p:cNvPr id="40984" name="Rectangle 24">
              <a:extLst>
                <a:ext uri="{FF2B5EF4-FFF2-40B4-BE49-F238E27FC236}">
                  <a16:creationId xmlns:a16="http://schemas.microsoft.com/office/drawing/2014/main" id="{289E934F-04E4-5F4A-B069-03B7071BDC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7" y="1185"/>
              <a:ext cx="454" cy="239"/>
            </a:xfrm>
            <a:prstGeom prst="rect">
              <a:avLst/>
            </a:prstGeom>
            <a:solidFill>
              <a:srgbClr val="FFFF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985" name="Rectangle 25">
              <a:extLst>
                <a:ext uri="{FF2B5EF4-FFF2-40B4-BE49-F238E27FC236}">
                  <a16:creationId xmlns:a16="http://schemas.microsoft.com/office/drawing/2014/main" id="{9C63D566-8720-674D-8887-6EA275293C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1" y="1568"/>
              <a:ext cx="510" cy="238"/>
            </a:xfrm>
            <a:prstGeom prst="rect">
              <a:avLst/>
            </a:prstGeom>
            <a:solidFill>
              <a:srgbClr val="FFFF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986" name="Rectangle 26">
              <a:extLst>
                <a:ext uri="{FF2B5EF4-FFF2-40B4-BE49-F238E27FC236}">
                  <a16:creationId xmlns:a16="http://schemas.microsoft.com/office/drawing/2014/main" id="{1B247C34-FAE1-2B42-A0BA-104A9F0848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3" y="1950"/>
              <a:ext cx="600" cy="237"/>
            </a:xfrm>
            <a:prstGeom prst="rect">
              <a:avLst/>
            </a:prstGeom>
            <a:solidFill>
              <a:srgbClr val="FFFF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987" name="Rectangle 27">
              <a:extLst>
                <a:ext uri="{FF2B5EF4-FFF2-40B4-BE49-F238E27FC236}">
                  <a16:creationId xmlns:a16="http://schemas.microsoft.com/office/drawing/2014/main" id="{D710E3DA-40B2-0340-8C4D-1BCD9827B3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4" y="2330"/>
              <a:ext cx="550" cy="239"/>
            </a:xfrm>
            <a:prstGeom prst="rect">
              <a:avLst/>
            </a:prstGeom>
            <a:solidFill>
              <a:srgbClr val="FFFF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988" name="Rectangle 28">
              <a:extLst>
                <a:ext uri="{FF2B5EF4-FFF2-40B4-BE49-F238E27FC236}">
                  <a16:creationId xmlns:a16="http://schemas.microsoft.com/office/drawing/2014/main" id="{F40EDF86-A7C4-7C41-B8B4-B171E1B0D1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1" y="1185"/>
              <a:ext cx="284" cy="239"/>
            </a:xfrm>
            <a:prstGeom prst="rect">
              <a:avLst/>
            </a:prstGeom>
            <a:solidFill>
              <a:srgbClr val="FF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989" name="Rectangle 29">
              <a:extLst>
                <a:ext uri="{FF2B5EF4-FFF2-40B4-BE49-F238E27FC236}">
                  <a16:creationId xmlns:a16="http://schemas.microsoft.com/office/drawing/2014/main" id="{D86E592F-FFD0-8946-9626-9034AA936B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1" y="1568"/>
              <a:ext cx="291" cy="238"/>
            </a:xfrm>
            <a:prstGeom prst="rect">
              <a:avLst/>
            </a:prstGeom>
            <a:solidFill>
              <a:srgbClr val="FF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990" name="Rectangle 30">
              <a:extLst>
                <a:ext uri="{FF2B5EF4-FFF2-40B4-BE49-F238E27FC236}">
                  <a16:creationId xmlns:a16="http://schemas.microsoft.com/office/drawing/2014/main" id="{56C75F0D-5A97-C24A-9923-D709992B46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3" y="1950"/>
              <a:ext cx="317" cy="237"/>
            </a:xfrm>
            <a:prstGeom prst="rect">
              <a:avLst/>
            </a:prstGeom>
            <a:solidFill>
              <a:srgbClr val="FF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991" name="Rectangle 31">
              <a:extLst>
                <a:ext uri="{FF2B5EF4-FFF2-40B4-BE49-F238E27FC236}">
                  <a16:creationId xmlns:a16="http://schemas.microsoft.com/office/drawing/2014/main" id="{0B2CE489-021F-6C4D-9025-DCF213E313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4" y="2330"/>
              <a:ext cx="369" cy="239"/>
            </a:xfrm>
            <a:prstGeom prst="rect">
              <a:avLst/>
            </a:prstGeom>
            <a:solidFill>
              <a:srgbClr val="FF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992" name="Rectangle 32">
              <a:extLst>
                <a:ext uri="{FF2B5EF4-FFF2-40B4-BE49-F238E27FC236}">
                  <a16:creationId xmlns:a16="http://schemas.microsoft.com/office/drawing/2014/main" id="{4D8A4A49-8F25-B545-BE37-9685C8F257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5" y="1185"/>
              <a:ext cx="292" cy="239"/>
            </a:xfrm>
            <a:prstGeom prst="rect">
              <a:avLst/>
            </a:prstGeom>
            <a:solidFill>
              <a:srgbClr val="FF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993" name="Rectangle 33">
              <a:extLst>
                <a:ext uri="{FF2B5EF4-FFF2-40B4-BE49-F238E27FC236}">
                  <a16:creationId xmlns:a16="http://schemas.microsoft.com/office/drawing/2014/main" id="{C0F9A5A5-9EEC-BD44-AB07-1894D84B81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2" y="1568"/>
              <a:ext cx="314" cy="238"/>
            </a:xfrm>
            <a:prstGeom prst="rect">
              <a:avLst/>
            </a:prstGeom>
            <a:solidFill>
              <a:srgbClr val="FF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994" name="Rectangle 34">
              <a:extLst>
                <a:ext uri="{FF2B5EF4-FFF2-40B4-BE49-F238E27FC236}">
                  <a16:creationId xmlns:a16="http://schemas.microsoft.com/office/drawing/2014/main" id="{6C67A6DF-B822-DA42-A560-912F844054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0" y="1950"/>
              <a:ext cx="352" cy="237"/>
            </a:xfrm>
            <a:prstGeom prst="rect">
              <a:avLst/>
            </a:prstGeom>
            <a:solidFill>
              <a:srgbClr val="FF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995" name="Rectangle 35">
              <a:extLst>
                <a:ext uri="{FF2B5EF4-FFF2-40B4-BE49-F238E27FC236}">
                  <a16:creationId xmlns:a16="http://schemas.microsoft.com/office/drawing/2014/main" id="{4DAAA156-20EF-7B44-9F7F-C2CC24B8BB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3" y="2330"/>
              <a:ext cx="389" cy="239"/>
            </a:xfrm>
            <a:prstGeom prst="rect">
              <a:avLst/>
            </a:prstGeom>
            <a:solidFill>
              <a:srgbClr val="FF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996" name="Rectangle 36">
              <a:extLst>
                <a:ext uri="{FF2B5EF4-FFF2-40B4-BE49-F238E27FC236}">
                  <a16:creationId xmlns:a16="http://schemas.microsoft.com/office/drawing/2014/main" id="{36538E58-D21A-AE4B-81B3-890A1321A7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7" y="1185"/>
              <a:ext cx="436" cy="239"/>
            </a:xfrm>
            <a:prstGeom prst="rect">
              <a:avLst/>
            </a:prstGeom>
            <a:solidFill>
              <a:srgbClr val="FFFF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997" name="Rectangle 37">
              <a:extLst>
                <a:ext uri="{FF2B5EF4-FFF2-40B4-BE49-F238E27FC236}">
                  <a16:creationId xmlns:a16="http://schemas.microsoft.com/office/drawing/2014/main" id="{9555874E-783C-F54F-A56A-695F86E21C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6" y="1568"/>
              <a:ext cx="419" cy="238"/>
            </a:xfrm>
            <a:prstGeom prst="rect">
              <a:avLst/>
            </a:prstGeom>
            <a:solidFill>
              <a:srgbClr val="FFFF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998" name="Rectangle 38">
              <a:extLst>
                <a:ext uri="{FF2B5EF4-FFF2-40B4-BE49-F238E27FC236}">
                  <a16:creationId xmlns:a16="http://schemas.microsoft.com/office/drawing/2014/main" id="{FAA80E87-11DA-4940-A406-B73BBDEA4E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2" y="1950"/>
              <a:ext cx="442" cy="237"/>
            </a:xfrm>
            <a:prstGeom prst="rect">
              <a:avLst/>
            </a:prstGeom>
            <a:solidFill>
              <a:srgbClr val="FFFF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999" name="Rectangle 39">
              <a:extLst>
                <a:ext uri="{FF2B5EF4-FFF2-40B4-BE49-F238E27FC236}">
                  <a16:creationId xmlns:a16="http://schemas.microsoft.com/office/drawing/2014/main" id="{0E27254B-FFB8-4E4E-BA14-D7D3F6158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2" y="2330"/>
              <a:ext cx="479" cy="239"/>
            </a:xfrm>
            <a:prstGeom prst="rect">
              <a:avLst/>
            </a:prstGeom>
            <a:solidFill>
              <a:srgbClr val="FFFF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000" name="Rectangle 40">
              <a:extLst>
                <a:ext uri="{FF2B5EF4-FFF2-40B4-BE49-F238E27FC236}">
                  <a16:creationId xmlns:a16="http://schemas.microsoft.com/office/drawing/2014/main" id="{0DA70F24-44A1-7C40-927B-3062F55C1C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2" y="2779"/>
              <a:ext cx="24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350</a:t>
              </a:r>
              <a:endParaRPr lang="de-DE" altLang="de-DE" sz="1600"/>
            </a:p>
          </p:txBody>
        </p:sp>
        <p:sp>
          <p:nvSpPr>
            <p:cNvPr id="41001" name="Rectangle 41">
              <a:extLst>
                <a:ext uri="{FF2B5EF4-FFF2-40B4-BE49-F238E27FC236}">
                  <a16:creationId xmlns:a16="http://schemas.microsoft.com/office/drawing/2014/main" id="{32B4A644-B4F4-2148-AC9D-269AD9FAAC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1" y="2779"/>
              <a:ext cx="24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400</a:t>
              </a:r>
              <a:endParaRPr lang="de-DE" altLang="de-DE" sz="1600"/>
            </a:p>
          </p:txBody>
        </p:sp>
        <p:sp>
          <p:nvSpPr>
            <p:cNvPr id="41002" name="Rectangle 42">
              <a:extLst>
                <a:ext uri="{FF2B5EF4-FFF2-40B4-BE49-F238E27FC236}">
                  <a16:creationId xmlns:a16="http://schemas.microsoft.com/office/drawing/2014/main" id="{7822C980-4A50-2A49-983D-C57AE2A306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0" y="2779"/>
              <a:ext cx="24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450</a:t>
              </a:r>
              <a:endParaRPr lang="de-DE" altLang="de-DE" sz="1600"/>
            </a:p>
          </p:txBody>
        </p:sp>
        <p:sp>
          <p:nvSpPr>
            <p:cNvPr id="41003" name="Rectangle 43">
              <a:extLst>
                <a:ext uri="{FF2B5EF4-FFF2-40B4-BE49-F238E27FC236}">
                  <a16:creationId xmlns:a16="http://schemas.microsoft.com/office/drawing/2014/main" id="{7EBE600B-7DAA-DF41-AF84-21A4776491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8" y="2779"/>
              <a:ext cx="24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500</a:t>
              </a:r>
              <a:endParaRPr lang="de-DE" altLang="de-DE" sz="1600"/>
            </a:p>
          </p:txBody>
        </p:sp>
        <p:sp>
          <p:nvSpPr>
            <p:cNvPr id="41004" name="Rectangle 44">
              <a:extLst>
                <a:ext uri="{FF2B5EF4-FFF2-40B4-BE49-F238E27FC236}">
                  <a16:creationId xmlns:a16="http://schemas.microsoft.com/office/drawing/2014/main" id="{62B54EC8-AAD5-7E4E-935E-158E74E8A3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7" y="2779"/>
              <a:ext cx="24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550</a:t>
              </a:r>
              <a:endParaRPr lang="de-DE" altLang="de-DE" sz="1600"/>
            </a:p>
          </p:txBody>
        </p:sp>
        <p:sp>
          <p:nvSpPr>
            <p:cNvPr id="41005" name="Rectangle 45">
              <a:extLst>
                <a:ext uri="{FF2B5EF4-FFF2-40B4-BE49-F238E27FC236}">
                  <a16:creationId xmlns:a16="http://schemas.microsoft.com/office/drawing/2014/main" id="{D7565217-EBBE-D044-95A5-FF96089873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6" y="2779"/>
              <a:ext cx="24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600</a:t>
              </a:r>
              <a:endParaRPr lang="de-DE" altLang="de-DE" sz="1600"/>
            </a:p>
          </p:txBody>
        </p:sp>
        <p:sp>
          <p:nvSpPr>
            <p:cNvPr id="41006" name="Rectangle 46">
              <a:extLst>
                <a:ext uri="{FF2B5EF4-FFF2-40B4-BE49-F238E27FC236}">
                  <a16:creationId xmlns:a16="http://schemas.microsoft.com/office/drawing/2014/main" id="{9D54FEFD-03D2-974D-855E-85A229FCB9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6" y="2779"/>
              <a:ext cx="24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650</a:t>
              </a:r>
              <a:endParaRPr lang="de-DE" altLang="de-DE" sz="1600"/>
            </a:p>
          </p:txBody>
        </p:sp>
        <p:sp>
          <p:nvSpPr>
            <p:cNvPr id="41007" name="Rectangle 47">
              <a:extLst>
                <a:ext uri="{FF2B5EF4-FFF2-40B4-BE49-F238E27FC236}">
                  <a16:creationId xmlns:a16="http://schemas.microsoft.com/office/drawing/2014/main" id="{C540A1E6-7146-004E-B678-8F0075FCE5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4" y="2779"/>
              <a:ext cx="24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700</a:t>
              </a:r>
              <a:endParaRPr lang="de-DE" altLang="de-DE" sz="1600"/>
            </a:p>
          </p:txBody>
        </p:sp>
        <p:grpSp>
          <p:nvGrpSpPr>
            <p:cNvPr id="41008" name="Group 48">
              <a:extLst>
                <a:ext uri="{FF2B5EF4-FFF2-40B4-BE49-F238E27FC236}">
                  <a16:creationId xmlns:a16="http://schemas.microsoft.com/office/drawing/2014/main" id="{B98C1250-43C2-DA40-AE9E-5944606DF6C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512" y="3697"/>
              <a:ext cx="444" cy="134"/>
              <a:chOff x="3512" y="3697"/>
              <a:chExt cx="444" cy="134"/>
            </a:xfrm>
          </p:grpSpPr>
          <p:sp>
            <p:nvSpPr>
              <p:cNvPr id="41009" name="Rectangle 49">
                <a:extLst>
                  <a:ext uri="{FF2B5EF4-FFF2-40B4-BE49-F238E27FC236}">
                    <a16:creationId xmlns:a16="http://schemas.microsoft.com/office/drawing/2014/main" id="{60CA34AC-C678-8247-8F2C-0233AF079B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3697"/>
                <a:ext cx="444" cy="134"/>
              </a:xfrm>
              <a:prstGeom prst="rect">
                <a:avLst/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1010" name="Rectangle 50">
                <a:extLst>
                  <a:ext uri="{FF2B5EF4-FFF2-40B4-BE49-F238E27FC236}">
                    <a16:creationId xmlns:a16="http://schemas.microsoft.com/office/drawing/2014/main" id="{7D5D7168-5374-ED4A-BDD3-1234921D9A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3697"/>
                <a:ext cx="444" cy="134"/>
              </a:xfrm>
              <a:prstGeom prst="rect">
                <a:avLst/>
              </a:prstGeom>
              <a:solidFill>
                <a:srgbClr val="FFFF66"/>
              </a:solidFill>
              <a:ln w="9525" cap="rnd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41011" name="Group 51">
              <a:extLst>
                <a:ext uri="{FF2B5EF4-FFF2-40B4-BE49-F238E27FC236}">
                  <a16:creationId xmlns:a16="http://schemas.microsoft.com/office/drawing/2014/main" id="{4C6090E2-62EC-7F42-9BE0-04EF208EB2A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43" y="3697"/>
              <a:ext cx="409" cy="134"/>
              <a:chOff x="3943" y="3697"/>
              <a:chExt cx="409" cy="134"/>
            </a:xfrm>
          </p:grpSpPr>
          <p:sp>
            <p:nvSpPr>
              <p:cNvPr id="41012" name="Rectangle 52">
                <a:extLst>
                  <a:ext uri="{FF2B5EF4-FFF2-40B4-BE49-F238E27FC236}">
                    <a16:creationId xmlns:a16="http://schemas.microsoft.com/office/drawing/2014/main" id="{8E8FB69E-1444-E94E-BD1C-19AF86F724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" y="3697"/>
                <a:ext cx="409" cy="134"/>
              </a:xfrm>
              <a:prstGeom prst="rect">
                <a:avLst/>
              </a:prstGeom>
              <a:solidFill>
                <a:srgbClr val="FF9999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1013" name="Rectangle 53">
                <a:extLst>
                  <a:ext uri="{FF2B5EF4-FFF2-40B4-BE49-F238E27FC236}">
                    <a16:creationId xmlns:a16="http://schemas.microsoft.com/office/drawing/2014/main" id="{65A8C948-BBE2-0E43-8F10-B44155FDC7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" y="3697"/>
                <a:ext cx="409" cy="134"/>
              </a:xfrm>
              <a:prstGeom prst="rect">
                <a:avLst/>
              </a:prstGeom>
              <a:solidFill>
                <a:srgbClr val="FF9999"/>
              </a:solidFill>
              <a:ln w="9525" cap="rnd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41014" name="Group 54">
              <a:extLst>
                <a:ext uri="{FF2B5EF4-FFF2-40B4-BE49-F238E27FC236}">
                  <a16:creationId xmlns:a16="http://schemas.microsoft.com/office/drawing/2014/main" id="{1556D1A4-EF0D-134E-8A66-6531478EF28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339" y="3697"/>
              <a:ext cx="396" cy="134"/>
              <a:chOff x="4339" y="3697"/>
              <a:chExt cx="396" cy="134"/>
            </a:xfrm>
          </p:grpSpPr>
          <p:sp>
            <p:nvSpPr>
              <p:cNvPr id="41015" name="Rectangle 55">
                <a:extLst>
                  <a:ext uri="{FF2B5EF4-FFF2-40B4-BE49-F238E27FC236}">
                    <a16:creationId xmlns:a16="http://schemas.microsoft.com/office/drawing/2014/main" id="{DB6078F6-C54E-ED4B-94B2-7C25C2DBEB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9" y="3697"/>
                <a:ext cx="396" cy="134"/>
              </a:xfrm>
              <a:prstGeom prst="rect">
                <a:avLst/>
              </a:prstGeom>
              <a:solidFill>
                <a:srgbClr val="FF9999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1016" name="Rectangle 56">
                <a:extLst>
                  <a:ext uri="{FF2B5EF4-FFF2-40B4-BE49-F238E27FC236}">
                    <a16:creationId xmlns:a16="http://schemas.microsoft.com/office/drawing/2014/main" id="{A88F99E0-0CF2-434B-B907-C549C838E2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9" y="3697"/>
                <a:ext cx="396" cy="134"/>
              </a:xfrm>
              <a:prstGeom prst="rect">
                <a:avLst/>
              </a:prstGeom>
              <a:solidFill>
                <a:srgbClr val="FF9999"/>
              </a:solidFill>
              <a:ln w="9525" cap="rnd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41017" name="Group 57">
              <a:extLst>
                <a:ext uri="{FF2B5EF4-FFF2-40B4-BE49-F238E27FC236}">
                  <a16:creationId xmlns:a16="http://schemas.microsoft.com/office/drawing/2014/main" id="{CA95159A-25B3-DE40-94A1-302DCB49475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735" y="3697"/>
              <a:ext cx="444" cy="134"/>
              <a:chOff x="4735" y="3697"/>
              <a:chExt cx="444" cy="134"/>
            </a:xfrm>
          </p:grpSpPr>
          <p:sp>
            <p:nvSpPr>
              <p:cNvPr id="41018" name="Rectangle 58">
                <a:extLst>
                  <a:ext uri="{FF2B5EF4-FFF2-40B4-BE49-F238E27FC236}">
                    <a16:creationId xmlns:a16="http://schemas.microsoft.com/office/drawing/2014/main" id="{BF7290D8-48F3-4F44-A9BD-0075440098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35" y="3697"/>
                <a:ext cx="444" cy="134"/>
              </a:xfrm>
              <a:prstGeom prst="rect">
                <a:avLst/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1019" name="Rectangle 59">
                <a:extLst>
                  <a:ext uri="{FF2B5EF4-FFF2-40B4-BE49-F238E27FC236}">
                    <a16:creationId xmlns:a16="http://schemas.microsoft.com/office/drawing/2014/main" id="{48D16FA4-53E4-494C-9D1F-CE270E0E1C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35" y="3697"/>
                <a:ext cx="444" cy="134"/>
              </a:xfrm>
              <a:prstGeom prst="rect">
                <a:avLst/>
              </a:prstGeom>
              <a:solidFill>
                <a:srgbClr val="FFFF66"/>
              </a:solidFill>
              <a:ln w="9525" cap="rnd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41020" name="Rectangle 60">
              <a:extLst>
                <a:ext uri="{FF2B5EF4-FFF2-40B4-BE49-F238E27FC236}">
                  <a16:creationId xmlns:a16="http://schemas.microsoft.com/office/drawing/2014/main" id="{E2F406DD-EC32-8F44-9D42-512306C85D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2" y="3871"/>
              <a:ext cx="627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Mittelwert</a:t>
              </a:r>
              <a:endParaRPr lang="de-DE" altLang="de-DE" sz="1600"/>
            </a:p>
          </p:txBody>
        </p:sp>
        <p:sp>
          <p:nvSpPr>
            <p:cNvPr id="41021" name="Rectangle 61">
              <a:extLst>
                <a:ext uri="{FF2B5EF4-FFF2-40B4-BE49-F238E27FC236}">
                  <a16:creationId xmlns:a16="http://schemas.microsoft.com/office/drawing/2014/main" id="{BFADFC45-4FFF-904D-AD59-3F1EE1522B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9" y="3505"/>
              <a:ext cx="2032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  5%   25%          75%    95%</a:t>
              </a:r>
              <a:endParaRPr lang="de-DE" altLang="de-DE" sz="1600"/>
            </a:p>
          </p:txBody>
        </p:sp>
        <p:sp>
          <p:nvSpPr>
            <p:cNvPr id="41022" name="Rectangle 62">
              <a:extLst>
                <a:ext uri="{FF2B5EF4-FFF2-40B4-BE49-F238E27FC236}">
                  <a16:creationId xmlns:a16="http://schemas.microsoft.com/office/drawing/2014/main" id="{4D2F75E2-B935-3945-9972-CFC795DB47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5" y="3254"/>
              <a:ext cx="651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Perzentile</a:t>
              </a:r>
              <a:endParaRPr lang="de-DE" altLang="de-DE" sz="1600"/>
            </a:p>
          </p:txBody>
        </p:sp>
        <p:sp>
          <p:nvSpPr>
            <p:cNvPr id="41023" name="Rectangle 63">
              <a:extLst>
                <a:ext uri="{FF2B5EF4-FFF2-40B4-BE49-F238E27FC236}">
                  <a16:creationId xmlns:a16="http://schemas.microsoft.com/office/drawing/2014/main" id="{99A6F275-0FEE-D948-8E66-EA31C5DCEB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7" y="941"/>
              <a:ext cx="24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515</a:t>
              </a:r>
              <a:endParaRPr lang="de-DE" altLang="de-DE" sz="1600"/>
            </a:p>
          </p:txBody>
        </p:sp>
        <p:sp>
          <p:nvSpPr>
            <p:cNvPr id="41024" name="Rectangle 64">
              <a:extLst>
                <a:ext uri="{FF2B5EF4-FFF2-40B4-BE49-F238E27FC236}">
                  <a16:creationId xmlns:a16="http://schemas.microsoft.com/office/drawing/2014/main" id="{87992E69-45FF-F74D-953D-5590EF7F80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6" y="941"/>
              <a:ext cx="244" cy="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580</a:t>
              </a:r>
              <a:endParaRPr lang="de-DE" altLang="de-DE" sz="1600"/>
            </a:p>
          </p:txBody>
        </p:sp>
        <p:sp>
          <p:nvSpPr>
            <p:cNvPr id="41025" name="Line 65">
              <a:extLst>
                <a:ext uri="{FF2B5EF4-FFF2-40B4-BE49-F238E27FC236}">
                  <a16:creationId xmlns:a16="http://schemas.microsoft.com/office/drawing/2014/main" id="{F781CAEE-E1DC-6944-98B9-98CFD4B13E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4" y="3113"/>
              <a:ext cx="535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1026" name="Line 66">
              <a:extLst>
                <a:ext uri="{FF2B5EF4-FFF2-40B4-BE49-F238E27FC236}">
                  <a16:creationId xmlns:a16="http://schemas.microsoft.com/office/drawing/2014/main" id="{CFA15637-AE39-AA4D-8492-DD52B8F754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4" y="845"/>
              <a:ext cx="535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1027" name="Line 67">
              <a:extLst>
                <a:ext uri="{FF2B5EF4-FFF2-40B4-BE49-F238E27FC236}">
                  <a16:creationId xmlns:a16="http://schemas.microsoft.com/office/drawing/2014/main" id="{BA00A6C0-C136-7341-A209-195766C442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4" y="255"/>
              <a:ext cx="535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1028" name="Line 68">
              <a:extLst>
                <a:ext uri="{FF2B5EF4-FFF2-40B4-BE49-F238E27FC236}">
                  <a16:creationId xmlns:a16="http://schemas.microsoft.com/office/drawing/2014/main" id="{A171E712-6672-614F-853D-9655802756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8" y="1113"/>
              <a:ext cx="0" cy="153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1029" name="Line 69">
              <a:extLst>
                <a:ext uri="{FF2B5EF4-FFF2-40B4-BE49-F238E27FC236}">
                  <a16:creationId xmlns:a16="http://schemas.microsoft.com/office/drawing/2014/main" id="{21424EE5-D7F3-AB45-8F35-B5FD10C4D0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99" y="1113"/>
              <a:ext cx="0" cy="153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1030" name="Line 70">
              <a:extLst>
                <a:ext uri="{FF2B5EF4-FFF2-40B4-BE49-F238E27FC236}">
                  <a16:creationId xmlns:a16="http://schemas.microsoft.com/office/drawing/2014/main" id="{842C25CF-241B-4349-8117-74006C280D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38" y="2642"/>
              <a:ext cx="314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1031" name="Line 71">
              <a:extLst>
                <a:ext uri="{FF2B5EF4-FFF2-40B4-BE49-F238E27FC236}">
                  <a16:creationId xmlns:a16="http://schemas.microsoft.com/office/drawing/2014/main" id="{5636D204-1633-C64D-AF78-4D7529B0F3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38" y="2642"/>
              <a:ext cx="0" cy="4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1032" name="Line 72">
              <a:extLst>
                <a:ext uri="{FF2B5EF4-FFF2-40B4-BE49-F238E27FC236}">
                  <a16:creationId xmlns:a16="http://schemas.microsoft.com/office/drawing/2014/main" id="{A3849512-D3F1-F749-9F62-98E744FC51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88" y="2642"/>
              <a:ext cx="0" cy="4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1033" name="Line 73">
              <a:extLst>
                <a:ext uri="{FF2B5EF4-FFF2-40B4-BE49-F238E27FC236}">
                  <a16:creationId xmlns:a16="http://schemas.microsoft.com/office/drawing/2014/main" id="{1E5DD2FC-554E-AF42-9FD4-295E40647D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38" y="2642"/>
              <a:ext cx="0" cy="4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1034" name="Line 74">
              <a:extLst>
                <a:ext uri="{FF2B5EF4-FFF2-40B4-BE49-F238E27FC236}">
                  <a16:creationId xmlns:a16="http://schemas.microsoft.com/office/drawing/2014/main" id="{6A8520AA-E08B-F247-BEB3-1D09D73379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87" y="2642"/>
              <a:ext cx="0" cy="4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1035" name="Line 75">
              <a:extLst>
                <a:ext uri="{FF2B5EF4-FFF2-40B4-BE49-F238E27FC236}">
                  <a16:creationId xmlns:a16="http://schemas.microsoft.com/office/drawing/2014/main" id="{89D54FBF-973B-FE4C-BA0F-943CBB831B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7" y="2642"/>
              <a:ext cx="0" cy="4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1036" name="Line 76">
              <a:extLst>
                <a:ext uri="{FF2B5EF4-FFF2-40B4-BE49-F238E27FC236}">
                  <a16:creationId xmlns:a16="http://schemas.microsoft.com/office/drawing/2014/main" id="{47EE303C-F19D-BE49-96E5-53544AA90B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87" y="2642"/>
              <a:ext cx="0" cy="4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1037" name="Line 77">
              <a:extLst>
                <a:ext uri="{FF2B5EF4-FFF2-40B4-BE49-F238E27FC236}">
                  <a16:creationId xmlns:a16="http://schemas.microsoft.com/office/drawing/2014/main" id="{C20E4C35-A22F-FD41-B660-9B6EE593EA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2" y="2642"/>
              <a:ext cx="0" cy="4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1038" name="Line 78">
              <a:extLst>
                <a:ext uri="{FF2B5EF4-FFF2-40B4-BE49-F238E27FC236}">
                  <a16:creationId xmlns:a16="http://schemas.microsoft.com/office/drawing/2014/main" id="{185CA603-80AA-DD48-8F63-875D7F6874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82" y="2642"/>
              <a:ext cx="0" cy="4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41039" name="Rectangle 79">
            <a:extLst>
              <a:ext uri="{FF2B5EF4-FFF2-40B4-BE49-F238E27FC236}">
                <a16:creationId xmlns:a16="http://schemas.microsoft.com/office/drawing/2014/main" id="{B6FE5250-4EEC-4E46-9F7C-4B2DB966E26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44463" y="115888"/>
            <a:ext cx="7019925" cy="503237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de-DE" altLang="de-DE" b="1"/>
              <a:t>Noten und Leistungen  - Lesen</a:t>
            </a:r>
          </a:p>
        </p:txBody>
      </p:sp>
      <p:sp>
        <p:nvSpPr>
          <p:cNvPr id="41040" name="Rectangle 80">
            <a:extLst>
              <a:ext uri="{FF2B5EF4-FFF2-40B4-BE49-F238E27FC236}">
                <a16:creationId xmlns:a16="http://schemas.microsoft.com/office/drawing/2014/main" id="{F012C4A1-2547-7A42-93B4-AAABE068CF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0063" y="2924175"/>
            <a:ext cx="792162" cy="1800225"/>
          </a:xfrm>
          <a:prstGeom prst="rect">
            <a:avLst/>
          </a:prstGeom>
          <a:solidFill>
            <a:srgbClr val="FF0000">
              <a:alpha val="5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10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Fußzeilenplatzhalter 2">
            <a:extLst>
              <a:ext uri="{FF2B5EF4-FFF2-40B4-BE49-F238E27FC236}">
                <a16:creationId xmlns:a16="http://schemas.microsoft.com/office/drawing/2014/main" id="{D96BE23C-5E01-2948-BF02-737E68F86B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78" name="Foliennummernplatzhalter 3">
            <a:extLst>
              <a:ext uri="{FF2B5EF4-FFF2-40B4-BE49-F238E27FC236}">
                <a16:creationId xmlns:a16="http://schemas.microsoft.com/office/drawing/2014/main" id="{80D23661-0098-F649-A571-3CCA8A6FDD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44EDA6-213A-C640-947D-872D1808A7C0}" type="slidenum">
              <a:rPr lang="de-DE" altLang="de-DE"/>
              <a:pPr/>
              <a:t>11</a:t>
            </a:fld>
            <a:endParaRPr lang="de-DE" altLang="de-DE"/>
          </a:p>
        </p:txBody>
      </p:sp>
      <p:grpSp>
        <p:nvGrpSpPr>
          <p:cNvPr id="41986" name="Group 2">
            <a:extLst>
              <a:ext uri="{FF2B5EF4-FFF2-40B4-BE49-F238E27FC236}">
                <a16:creationId xmlns:a16="http://schemas.microsoft.com/office/drawing/2014/main" id="{D6EF62B8-0547-3D4C-A04A-A6EA92429156}"/>
              </a:ext>
            </a:extLst>
          </p:cNvPr>
          <p:cNvGrpSpPr>
            <a:grpSpLocks/>
          </p:cNvGrpSpPr>
          <p:nvPr/>
        </p:nvGrpSpPr>
        <p:grpSpPr bwMode="auto">
          <a:xfrm>
            <a:off x="1116013" y="1787525"/>
            <a:ext cx="6804025" cy="4810125"/>
            <a:chOff x="204" y="255"/>
            <a:chExt cx="5352" cy="3809"/>
          </a:xfrm>
        </p:grpSpPr>
        <p:sp>
          <p:nvSpPr>
            <p:cNvPr id="41987" name="Rectangle 3">
              <a:extLst>
                <a:ext uri="{FF2B5EF4-FFF2-40B4-BE49-F238E27FC236}">
                  <a16:creationId xmlns:a16="http://schemas.microsoft.com/office/drawing/2014/main" id="{519A1D90-257C-8447-A988-872F83DE25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" y="332"/>
              <a:ext cx="887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Deutschland</a:t>
              </a:r>
              <a:endParaRPr lang="de-DE" altLang="de-DE" sz="1600"/>
            </a:p>
          </p:txBody>
        </p:sp>
        <p:sp>
          <p:nvSpPr>
            <p:cNvPr id="41988" name="Rectangle 4">
              <a:extLst>
                <a:ext uri="{FF2B5EF4-FFF2-40B4-BE49-F238E27FC236}">
                  <a16:creationId xmlns:a16="http://schemas.microsoft.com/office/drawing/2014/main" id="{B15D923E-40EE-9C4A-8946-EBABA5C1DE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" y="576"/>
              <a:ext cx="337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Note</a:t>
              </a:r>
              <a:endParaRPr lang="de-DE" altLang="de-DE" sz="1600"/>
            </a:p>
          </p:txBody>
        </p:sp>
        <p:sp>
          <p:nvSpPr>
            <p:cNvPr id="41989" name="Rectangle 5">
              <a:extLst>
                <a:ext uri="{FF2B5EF4-FFF2-40B4-BE49-F238E27FC236}">
                  <a16:creationId xmlns:a16="http://schemas.microsoft.com/office/drawing/2014/main" id="{B1E2537E-459C-9D4A-979D-1FEF7248E0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1" y="576"/>
              <a:ext cx="178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M </a:t>
              </a:r>
              <a:endParaRPr lang="de-DE" altLang="de-DE" sz="1600"/>
            </a:p>
          </p:txBody>
        </p:sp>
        <p:sp>
          <p:nvSpPr>
            <p:cNvPr id="41990" name="Rectangle 6">
              <a:extLst>
                <a:ext uri="{FF2B5EF4-FFF2-40B4-BE49-F238E27FC236}">
                  <a16:creationId xmlns:a16="http://schemas.microsoft.com/office/drawing/2014/main" id="{8811B4E9-4151-994A-BB6B-B1D51F04E1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3" y="576"/>
              <a:ext cx="320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(SE)</a:t>
              </a:r>
              <a:endParaRPr lang="de-DE" altLang="de-DE" sz="1600"/>
            </a:p>
          </p:txBody>
        </p:sp>
        <p:sp>
          <p:nvSpPr>
            <p:cNvPr id="41991" name="Rectangle 7">
              <a:extLst>
                <a:ext uri="{FF2B5EF4-FFF2-40B4-BE49-F238E27FC236}">
                  <a16:creationId xmlns:a16="http://schemas.microsoft.com/office/drawing/2014/main" id="{CCAB86FE-01C3-704F-AD23-442039FD89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5" y="576"/>
              <a:ext cx="221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SD</a:t>
              </a:r>
              <a:endParaRPr lang="de-DE" altLang="de-DE" sz="1600"/>
            </a:p>
          </p:txBody>
        </p:sp>
        <p:sp>
          <p:nvSpPr>
            <p:cNvPr id="41992" name="Rectangle 8">
              <a:extLst>
                <a:ext uri="{FF2B5EF4-FFF2-40B4-BE49-F238E27FC236}">
                  <a16:creationId xmlns:a16="http://schemas.microsoft.com/office/drawing/2014/main" id="{30F8B524-3C21-7940-9480-5EED1F4EE4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" y="1158"/>
              <a:ext cx="88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1</a:t>
              </a:r>
              <a:endParaRPr lang="de-DE" altLang="de-DE" sz="1600"/>
            </a:p>
          </p:txBody>
        </p:sp>
        <p:sp>
          <p:nvSpPr>
            <p:cNvPr id="41993" name="Rectangle 9">
              <a:extLst>
                <a:ext uri="{FF2B5EF4-FFF2-40B4-BE49-F238E27FC236}">
                  <a16:creationId xmlns:a16="http://schemas.microsoft.com/office/drawing/2014/main" id="{18F09CAD-5120-CA46-9490-5608DAD572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" y="1570"/>
              <a:ext cx="88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2</a:t>
              </a:r>
              <a:endParaRPr lang="de-DE" altLang="de-DE" sz="1600"/>
            </a:p>
          </p:txBody>
        </p:sp>
        <p:sp>
          <p:nvSpPr>
            <p:cNvPr id="41994" name="Rectangle 10">
              <a:extLst>
                <a:ext uri="{FF2B5EF4-FFF2-40B4-BE49-F238E27FC236}">
                  <a16:creationId xmlns:a16="http://schemas.microsoft.com/office/drawing/2014/main" id="{B7BDAD67-90BC-064C-B216-64E4D33FA6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" y="1982"/>
              <a:ext cx="88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3</a:t>
              </a:r>
              <a:endParaRPr lang="de-DE" altLang="de-DE" sz="1600"/>
            </a:p>
          </p:txBody>
        </p:sp>
        <p:sp>
          <p:nvSpPr>
            <p:cNvPr id="41995" name="Rectangle 11">
              <a:extLst>
                <a:ext uri="{FF2B5EF4-FFF2-40B4-BE49-F238E27FC236}">
                  <a16:creationId xmlns:a16="http://schemas.microsoft.com/office/drawing/2014/main" id="{32C1A780-5EA7-744B-B4E6-88F547A640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" y="2395"/>
              <a:ext cx="471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4 bis 6</a:t>
              </a:r>
              <a:endParaRPr lang="de-DE" altLang="de-DE" sz="1600"/>
            </a:p>
          </p:txBody>
        </p:sp>
        <p:sp>
          <p:nvSpPr>
            <p:cNvPr id="41996" name="Rectangle 12">
              <a:extLst>
                <a:ext uri="{FF2B5EF4-FFF2-40B4-BE49-F238E27FC236}">
                  <a16:creationId xmlns:a16="http://schemas.microsoft.com/office/drawing/2014/main" id="{36F3C5ED-2BAD-F941-A1C9-660E14A7F1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1" y="2781"/>
              <a:ext cx="266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250</a:t>
              </a:r>
              <a:endParaRPr lang="de-DE" altLang="de-DE" sz="1600"/>
            </a:p>
          </p:txBody>
        </p:sp>
        <p:sp>
          <p:nvSpPr>
            <p:cNvPr id="41997" name="Rectangle 13">
              <a:extLst>
                <a:ext uri="{FF2B5EF4-FFF2-40B4-BE49-F238E27FC236}">
                  <a16:creationId xmlns:a16="http://schemas.microsoft.com/office/drawing/2014/main" id="{BE871F3A-3A81-064A-9863-52A42E54E7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8" y="2781"/>
              <a:ext cx="266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350</a:t>
              </a:r>
              <a:endParaRPr lang="de-DE" altLang="de-DE" sz="1600"/>
            </a:p>
          </p:txBody>
        </p:sp>
        <p:sp>
          <p:nvSpPr>
            <p:cNvPr id="41998" name="Rectangle 14">
              <a:extLst>
                <a:ext uri="{FF2B5EF4-FFF2-40B4-BE49-F238E27FC236}">
                  <a16:creationId xmlns:a16="http://schemas.microsoft.com/office/drawing/2014/main" id="{DF226C51-4796-3445-B9AB-5F59477AA0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4" y="2781"/>
              <a:ext cx="266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450</a:t>
              </a:r>
              <a:endParaRPr lang="de-DE" altLang="de-DE" sz="1600"/>
            </a:p>
          </p:txBody>
        </p:sp>
        <p:sp>
          <p:nvSpPr>
            <p:cNvPr id="41999" name="Rectangle 15">
              <a:extLst>
                <a:ext uri="{FF2B5EF4-FFF2-40B4-BE49-F238E27FC236}">
                  <a16:creationId xmlns:a16="http://schemas.microsoft.com/office/drawing/2014/main" id="{6B64E355-C0F6-D94D-BD79-25D565D5CB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3" y="2781"/>
              <a:ext cx="266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550</a:t>
              </a:r>
              <a:endParaRPr lang="de-DE" altLang="de-DE" sz="1600"/>
            </a:p>
          </p:txBody>
        </p:sp>
        <p:sp>
          <p:nvSpPr>
            <p:cNvPr id="42000" name="Rectangle 16">
              <a:extLst>
                <a:ext uri="{FF2B5EF4-FFF2-40B4-BE49-F238E27FC236}">
                  <a16:creationId xmlns:a16="http://schemas.microsoft.com/office/drawing/2014/main" id="{AE52E6E2-431F-F748-8268-DCB0511C73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9" y="2781"/>
              <a:ext cx="266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650</a:t>
              </a:r>
              <a:endParaRPr lang="de-DE" altLang="de-DE" sz="1600"/>
            </a:p>
          </p:txBody>
        </p:sp>
        <p:sp>
          <p:nvSpPr>
            <p:cNvPr id="42001" name="Rectangle 17">
              <a:extLst>
                <a:ext uri="{FF2B5EF4-FFF2-40B4-BE49-F238E27FC236}">
                  <a16:creationId xmlns:a16="http://schemas.microsoft.com/office/drawing/2014/main" id="{CED28A98-A98D-E247-A09C-BE98CDDD0C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8" y="2781"/>
              <a:ext cx="266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750</a:t>
              </a:r>
              <a:endParaRPr lang="de-DE" altLang="de-DE" sz="1600"/>
            </a:p>
          </p:txBody>
        </p:sp>
        <p:grpSp>
          <p:nvGrpSpPr>
            <p:cNvPr id="42002" name="Group 18">
              <a:extLst>
                <a:ext uri="{FF2B5EF4-FFF2-40B4-BE49-F238E27FC236}">
                  <a16:creationId xmlns:a16="http://schemas.microsoft.com/office/drawing/2014/main" id="{48D4F16C-A6B7-2747-A26D-5FCC8EF83F6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512" y="3697"/>
              <a:ext cx="444" cy="134"/>
              <a:chOff x="3512" y="3697"/>
              <a:chExt cx="444" cy="134"/>
            </a:xfrm>
          </p:grpSpPr>
          <p:sp>
            <p:nvSpPr>
              <p:cNvPr id="42003" name="Rectangle 19">
                <a:extLst>
                  <a:ext uri="{FF2B5EF4-FFF2-40B4-BE49-F238E27FC236}">
                    <a16:creationId xmlns:a16="http://schemas.microsoft.com/office/drawing/2014/main" id="{BE6C154B-5D44-D04C-BBAB-212148509E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3697"/>
                <a:ext cx="444" cy="134"/>
              </a:xfrm>
              <a:prstGeom prst="rect">
                <a:avLst/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004" name="Rectangle 20">
                <a:extLst>
                  <a:ext uri="{FF2B5EF4-FFF2-40B4-BE49-F238E27FC236}">
                    <a16:creationId xmlns:a16="http://schemas.microsoft.com/office/drawing/2014/main" id="{3302AEF6-2CDC-E54F-94C6-EF6D78463C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3697"/>
                <a:ext cx="444" cy="134"/>
              </a:xfrm>
              <a:prstGeom prst="rect">
                <a:avLst/>
              </a:prstGeom>
              <a:solidFill>
                <a:srgbClr val="FFFF66"/>
              </a:solidFill>
              <a:ln w="9525" cap="rnd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42005" name="Group 21">
              <a:extLst>
                <a:ext uri="{FF2B5EF4-FFF2-40B4-BE49-F238E27FC236}">
                  <a16:creationId xmlns:a16="http://schemas.microsoft.com/office/drawing/2014/main" id="{66A3B599-3810-4C44-A26A-A154A691762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43" y="3697"/>
              <a:ext cx="409" cy="134"/>
              <a:chOff x="3943" y="3697"/>
              <a:chExt cx="409" cy="134"/>
            </a:xfrm>
          </p:grpSpPr>
          <p:sp>
            <p:nvSpPr>
              <p:cNvPr id="42006" name="Rectangle 22">
                <a:extLst>
                  <a:ext uri="{FF2B5EF4-FFF2-40B4-BE49-F238E27FC236}">
                    <a16:creationId xmlns:a16="http://schemas.microsoft.com/office/drawing/2014/main" id="{D992C57A-9BDD-9640-A437-784B4E4214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" y="3697"/>
                <a:ext cx="409" cy="134"/>
              </a:xfrm>
              <a:prstGeom prst="rect">
                <a:avLst/>
              </a:prstGeom>
              <a:solidFill>
                <a:srgbClr val="FF9999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007" name="Rectangle 23">
                <a:extLst>
                  <a:ext uri="{FF2B5EF4-FFF2-40B4-BE49-F238E27FC236}">
                    <a16:creationId xmlns:a16="http://schemas.microsoft.com/office/drawing/2014/main" id="{5A05E97D-60B4-8049-B7BE-FA97A21E91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" y="3697"/>
                <a:ext cx="409" cy="134"/>
              </a:xfrm>
              <a:prstGeom prst="rect">
                <a:avLst/>
              </a:prstGeom>
              <a:solidFill>
                <a:srgbClr val="FF9999"/>
              </a:solidFill>
              <a:ln w="9525" cap="rnd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42008" name="Group 24">
              <a:extLst>
                <a:ext uri="{FF2B5EF4-FFF2-40B4-BE49-F238E27FC236}">
                  <a16:creationId xmlns:a16="http://schemas.microsoft.com/office/drawing/2014/main" id="{14E8B512-E990-D943-9471-7A35C564C44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339" y="3697"/>
              <a:ext cx="396" cy="134"/>
              <a:chOff x="4339" y="3697"/>
              <a:chExt cx="396" cy="134"/>
            </a:xfrm>
          </p:grpSpPr>
          <p:sp>
            <p:nvSpPr>
              <p:cNvPr id="42009" name="Rectangle 25">
                <a:extLst>
                  <a:ext uri="{FF2B5EF4-FFF2-40B4-BE49-F238E27FC236}">
                    <a16:creationId xmlns:a16="http://schemas.microsoft.com/office/drawing/2014/main" id="{B73A2F57-F489-6645-A230-E3B3F6D117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9" y="3697"/>
                <a:ext cx="396" cy="134"/>
              </a:xfrm>
              <a:prstGeom prst="rect">
                <a:avLst/>
              </a:prstGeom>
              <a:solidFill>
                <a:srgbClr val="FF9999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010" name="Rectangle 26">
                <a:extLst>
                  <a:ext uri="{FF2B5EF4-FFF2-40B4-BE49-F238E27FC236}">
                    <a16:creationId xmlns:a16="http://schemas.microsoft.com/office/drawing/2014/main" id="{626BF278-F174-304B-A741-76AAD08662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9" y="3697"/>
                <a:ext cx="396" cy="134"/>
              </a:xfrm>
              <a:prstGeom prst="rect">
                <a:avLst/>
              </a:prstGeom>
              <a:solidFill>
                <a:srgbClr val="FF9999"/>
              </a:solidFill>
              <a:ln w="9525" cap="rnd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42011" name="Group 27">
              <a:extLst>
                <a:ext uri="{FF2B5EF4-FFF2-40B4-BE49-F238E27FC236}">
                  <a16:creationId xmlns:a16="http://schemas.microsoft.com/office/drawing/2014/main" id="{8D4D1658-CC4F-E34C-B810-4A65384C3E5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735" y="3697"/>
              <a:ext cx="444" cy="134"/>
              <a:chOff x="4735" y="3697"/>
              <a:chExt cx="444" cy="134"/>
            </a:xfrm>
          </p:grpSpPr>
          <p:sp>
            <p:nvSpPr>
              <p:cNvPr id="42012" name="Rectangle 28">
                <a:extLst>
                  <a:ext uri="{FF2B5EF4-FFF2-40B4-BE49-F238E27FC236}">
                    <a16:creationId xmlns:a16="http://schemas.microsoft.com/office/drawing/2014/main" id="{A29070F6-FBDD-AE4E-9AA3-98EAA63904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35" y="3697"/>
                <a:ext cx="444" cy="134"/>
              </a:xfrm>
              <a:prstGeom prst="rect">
                <a:avLst/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2013" name="Rectangle 29">
                <a:extLst>
                  <a:ext uri="{FF2B5EF4-FFF2-40B4-BE49-F238E27FC236}">
                    <a16:creationId xmlns:a16="http://schemas.microsoft.com/office/drawing/2014/main" id="{C8117CA1-4CEE-304E-A077-89FBB707D0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35" y="3697"/>
                <a:ext cx="444" cy="134"/>
              </a:xfrm>
              <a:prstGeom prst="rect">
                <a:avLst/>
              </a:prstGeom>
              <a:solidFill>
                <a:srgbClr val="FFFF66"/>
              </a:solidFill>
              <a:ln w="9525" cap="rnd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42014" name="Rectangle 30">
              <a:extLst>
                <a:ext uri="{FF2B5EF4-FFF2-40B4-BE49-F238E27FC236}">
                  <a16:creationId xmlns:a16="http://schemas.microsoft.com/office/drawing/2014/main" id="{68098032-DA0B-084D-99F6-4A02CE5B83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1" y="3870"/>
              <a:ext cx="685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Mittelwert</a:t>
              </a:r>
              <a:endParaRPr lang="de-DE" altLang="de-DE" sz="1600"/>
            </a:p>
          </p:txBody>
        </p:sp>
        <p:sp>
          <p:nvSpPr>
            <p:cNvPr id="42015" name="Rectangle 31">
              <a:extLst>
                <a:ext uri="{FF2B5EF4-FFF2-40B4-BE49-F238E27FC236}">
                  <a16:creationId xmlns:a16="http://schemas.microsoft.com/office/drawing/2014/main" id="{8343B301-43F7-BC49-B1BF-49C5152F7A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8" y="3505"/>
              <a:ext cx="2044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  5%   25%          75%    95%</a:t>
              </a:r>
              <a:endParaRPr lang="de-DE" altLang="de-DE" sz="1600"/>
            </a:p>
          </p:txBody>
        </p:sp>
        <p:sp>
          <p:nvSpPr>
            <p:cNvPr id="42016" name="Rectangle 32">
              <a:extLst>
                <a:ext uri="{FF2B5EF4-FFF2-40B4-BE49-F238E27FC236}">
                  <a16:creationId xmlns:a16="http://schemas.microsoft.com/office/drawing/2014/main" id="{52D053E2-1F53-E148-A574-88225EAED2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6" y="3254"/>
              <a:ext cx="710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Perzentile</a:t>
              </a:r>
              <a:endParaRPr lang="de-DE" altLang="de-DE" sz="1600"/>
            </a:p>
          </p:txBody>
        </p:sp>
        <p:sp>
          <p:nvSpPr>
            <p:cNvPr id="42017" name="Rectangle 33">
              <a:extLst>
                <a:ext uri="{FF2B5EF4-FFF2-40B4-BE49-F238E27FC236}">
                  <a16:creationId xmlns:a16="http://schemas.microsoft.com/office/drawing/2014/main" id="{D831BAD6-418B-EA4F-8097-5A1EB144B8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" y="941"/>
              <a:ext cx="266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448</a:t>
              </a:r>
              <a:endParaRPr lang="de-DE" altLang="de-DE" sz="1600"/>
            </a:p>
          </p:txBody>
        </p:sp>
        <p:sp>
          <p:nvSpPr>
            <p:cNvPr id="42018" name="Rectangle 34">
              <a:extLst>
                <a:ext uri="{FF2B5EF4-FFF2-40B4-BE49-F238E27FC236}">
                  <a16:creationId xmlns:a16="http://schemas.microsoft.com/office/drawing/2014/main" id="{22D2BE62-7455-F14F-85E0-E8193432FF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5" y="941"/>
              <a:ext cx="266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561</a:t>
              </a:r>
              <a:endParaRPr lang="de-DE" altLang="de-DE" sz="1600"/>
            </a:p>
          </p:txBody>
        </p:sp>
        <p:sp>
          <p:nvSpPr>
            <p:cNvPr id="42019" name="Line 35">
              <a:extLst>
                <a:ext uri="{FF2B5EF4-FFF2-40B4-BE49-F238E27FC236}">
                  <a16:creationId xmlns:a16="http://schemas.microsoft.com/office/drawing/2014/main" id="{1ABA7227-1104-AB49-8560-952C29F08D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4" y="3113"/>
              <a:ext cx="535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2020" name="Line 36">
              <a:extLst>
                <a:ext uri="{FF2B5EF4-FFF2-40B4-BE49-F238E27FC236}">
                  <a16:creationId xmlns:a16="http://schemas.microsoft.com/office/drawing/2014/main" id="{4B467BFA-D6FC-F94B-B856-65F929D6BE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4" y="845"/>
              <a:ext cx="535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2021" name="Line 37">
              <a:extLst>
                <a:ext uri="{FF2B5EF4-FFF2-40B4-BE49-F238E27FC236}">
                  <a16:creationId xmlns:a16="http://schemas.microsoft.com/office/drawing/2014/main" id="{D79010C5-F52E-C247-9C51-FDC2EE32D1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4" y="255"/>
              <a:ext cx="535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2022" name="Line 38">
              <a:extLst>
                <a:ext uri="{FF2B5EF4-FFF2-40B4-BE49-F238E27FC236}">
                  <a16:creationId xmlns:a16="http://schemas.microsoft.com/office/drawing/2014/main" id="{69A0D3D7-97FA-9C42-8DC5-06F2BC4052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38" y="2642"/>
              <a:ext cx="314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2023" name="Line 39">
              <a:extLst>
                <a:ext uri="{FF2B5EF4-FFF2-40B4-BE49-F238E27FC236}">
                  <a16:creationId xmlns:a16="http://schemas.microsoft.com/office/drawing/2014/main" id="{77A4DDF5-1F65-7E42-8DC1-2D2550AFC1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38" y="2642"/>
              <a:ext cx="0" cy="4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2024" name="Line 40">
              <a:extLst>
                <a:ext uri="{FF2B5EF4-FFF2-40B4-BE49-F238E27FC236}">
                  <a16:creationId xmlns:a16="http://schemas.microsoft.com/office/drawing/2014/main" id="{2DA4DB3D-8B6D-FB42-9714-29778849B1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66" y="2642"/>
              <a:ext cx="0" cy="4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2025" name="Line 41">
              <a:extLst>
                <a:ext uri="{FF2B5EF4-FFF2-40B4-BE49-F238E27FC236}">
                  <a16:creationId xmlns:a16="http://schemas.microsoft.com/office/drawing/2014/main" id="{A363AFB9-FC15-5946-90C5-3E675CB96C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95" y="2642"/>
              <a:ext cx="0" cy="4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2026" name="Line 42">
              <a:extLst>
                <a:ext uri="{FF2B5EF4-FFF2-40B4-BE49-F238E27FC236}">
                  <a16:creationId xmlns:a16="http://schemas.microsoft.com/office/drawing/2014/main" id="{C095620C-337F-7047-A9BB-06851627EC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24" y="2642"/>
              <a:ext cx="0" cy="4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2027" name="Line 43">
              <a:extLst>
                <a:ext uri="{FF2B5EF4-FFF2-40B4-BE49-F238E27FC236}">
                  <a16:creationId xmlns:a16="http://schemas.microsoft.com/office/drawing/2014/main" id="{07E66E61-891D-0244-8BDF-8A876FAB1E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3" y="2642"/>
              <a:ext cx="0" cy="4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2028" name="Line 44">
              <a:extLst>
                <a:ext uri="{FF2B5EF4-FFF2-40B4-BE49-F238E27FC236}">
                  <a16:creationId xmlns:a16="http://schemas.microsoft.com/office/drawing/2014/main" id="{A3F4F868-E61D-DF4B-885B-E1BCC19F5B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82" y="2642"/>
              <a:ext cx="0" cy="4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2029" name="Rectangle 45">
              <a:extLst>
                <a:ext uri="{FF2B5EF4-FFF2-40B4-BE49-F238E27FC236}">
                  <a16:creationId xmlns:a16="http://schemas.microsoft.com/office/drawing/2014/main" id="{C0F83F41-1933-7146-8C3D-9BF26472FE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6" y="1158"/>
              <a:ext cx="266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588</a:t>
              </a:r>
              <a:endParaRPr lang="de-DE" altLang="de-DE" sz="1600"/>
            </a:p>
          </p:txBody>
        </p:sp>
        <p:sp>
          <p:nvSpPr>
            <p:cNvPr id="42030" name="Rectangle 46">
              <a:extLst>
                <a:ext uri="{FF2B5EF4-FFF2-40B4-BE49-F238E27FC236}">
                  <a16:creationId xmlns:a16="http://schemas.microsoft.com/office/drawing/2014/main" id="{1DD54EB5-4BD3-A24A-8562-1AC0D7F5E7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8" y="1158"/>
              <a:ext cx="330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(6,8)</a:t>
              </a:r>
              <a:endParaRPr lang="de-DE" altLang="de-DE" sz="1600"/>
            </a:p>
          </p:txBody>
        </p:sp>
        <p:sp>
          <p:nvSpPr>
            <p:cNvPr id="42031" name="Rectangle 47">
              <a:extLst>
                <a:ext uri="{FF2B5EF4-FFF2-40B4-BE49-F238E27FC236}">
                  <a16:creationId xmlns:a16="http://schemas.microsoft.com/office/drawing/2014/main" id="{7A364C09-5EF8-3F44-8297-2D6DEA7AF9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2" y="1158"/>
              <a:ext cx="178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83</a:t>
              </a:r>
              <a:endParaRPr lang="de-DE" altLang="de-DE" sz="1600"/>
            </a:p>
          </p:txBody>
        </p:sp>
        <p:sp>
          <p:nvSpPr>
            <p:cNvPr id="42032" name="Rectangle 48">
              <a:extLst>
                <a:ext uri="{FF2B5EF4-FFF2-40B4-BE49-F238E27FC236}">
                  <a16:creationId xmlns:a16="http://schemas.microsoft.com/office/drawing/2014/main" id="{C44C307E-16F9-034F-9887-EDC44609EA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6" y="1570"/>
              <a:ext cx="266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542</a:t>
              </a:r>
              <a:endParaRPr lang="de-DE" altLang="de-DE" sz="1600"/>
            </a:p>
          </p:txBody>
        </p:sp>
        <p:sp>
          <p:nvSpPr>
            <p:cNvPr id="42033" name="Rectangle 49">
              <a:extLst>
                <a:ext uri="{FF2B5EF4-FFF2-40B4-BE49-F238E27FC236}">
                  <a16:creationId xmlns:a16="http://schemas.microsoft.com/office/drawing/2014/main" id="{F680EE08-E095-9F4B-8887-478F7ED02D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8" y="1570"/>
              <a:ext cx="330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(3,6)</a:t>
              </a:r>
              <a:endParaRPr lang="de-DE" altLang="de-DE" sz="1600"/>
            </a:p>
          </p:txBody>
        </p:sp>
        <p:sp>
          <p:nvSpPr>
            <p:cNvPr id="42034" name="Rectangle 50">
              <a:extLst>
                <a:ext uri="{FF2B5EF4-FFF2-40B4-BE49-F238E27FC236}">
                  <a16:creationId xmlns:a16="http://schemas.microsoft.com/office/drawing/2014/main" id="{A7A6DD16-D437-1A4B-AE90-A82BE34641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2" y="1570"/>
              <a:ext cx="178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86</a:t>
              </a:r>
              <a:endParaRPr lang="de-DE" altLang="de-DE" sz="1600"/>
            </a:p>
          </p:txBody>
        </p:sp>
        <p:sp>
          <p:nvSpPr>
            <p:cNvPr id="42035" name="Rectangle 51">
              <a:extLst>
                <a:ext uri="{FF2B5EF4-FFF2-40B4-BE49-F238E27FC236}">
                  <a16:creationId xmlns:a16="http://schemas.microsoft.com/office/drawing/2014/main" id="{FF0DE6E3-EE1C-E04C-9A3E-D8905152B3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6" y="1982"/>
              <a:ext cx="266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485</a:t>
              </a:r>
              <a:endParaRPr lang="de-DE" altLang="de-DE" sz="1600"/>
            </a:p>
          </p:txBody>
        </p:sp>
        <p:sp>
          <p:nvSpPr>
            <p:cNvPr id="42036" name="Rectangle 52">
              <a:extLst>
                <a:ext uri="{FF2B5EF4-FFF2-40B4-BE49-F238E27FC236}">
                  <a16:creationId xmlns:a16="http://schemas.microsoft.com/office/drawing/2014/main" id="{8E8C055C-E727-8642-9A34-71AB694D75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8" y="1982"/>
              <a:ext cx="330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(3,8)</a:t>
              </a:r>
              <a:endParaRPr lang="de-DE" altLang="de-DE" sz="1600"/>
            </a:p>
          </p:txBody>
        </p:sp>
        <p:sp>
          <p:nvSpPr>
            <p:cNvPr id="42037" name="Rectangle 53">
              <a:extLst>
                <a:ext uri="{FF2B5EF4-FFF2-40B4-BE49-F238E27FC236}">
                  <a16:creationId xmlns:a16="http://schemas.microsoft.com/office/drawing/2014/main" id="{9037CED8-4A34-2B46-825F-D36C3A5739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2" y="1982"/>
              <a:ext cx="178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88</a:t>
              </a:r>
              <a:endParaRPr lang="de-DE" altLang="de-DE" sz="1600"/>
            </a:p>
          </p:txBody>
        </p:sp>
        <p:sp>
          <p:nvSpPr>
            <p:cNvPr id="42038" name="Rectangle 54">
              <a:extLst>
                <a:ext uri="{FF2B5EF4-FFF2-40B4-BE49-F238E27FC236}">
                  <a16:creationId xmlns:a16="http://schemas.microsoft.com/office/drawing/2014/main" id="{43ED4857-E54E-8141-A725-C245E4FC60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6" y="2395"/>
              <a:ext cx="266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424</a:t>
              </a:r>
              <a:endParaRPr lang="de-DE" altLang="de-DE" sz="1600"/>
            </a:p>
          </p:txBody>
        </p:sp>
        <p:sp>
          <p:nvSpPr>
            <p:cNvPr id="42039" name="Rectangle 55">
              <a:extLst>
                <a:ext uri="{FF2B5EF4-FFF2-40B4-BE49-F238E27FC236}">
                  <a16:creationId xmlns:a16="http://schemas.microsoft.com/office/drawing/2014/main" id="{6B88A1EB-2871-4543-A25C-7895F36B6B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8" y="2395"/>
              <a:ext cx="330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(3,7)</a:t>
              </a:r>
              <a:endParaRPr lang="de-DE" altLang="de-DE" sz="1600"/>
            </a:p>
          </p:txBody>
        </p:sp>
        <p:sp>
          <p:nvSpPr>
            <p:cNvPr id="42040" name="Rectangle 56">
              <a:extLst>
                <a:ext uri="{FF2B5EF4-FFF2-40B4-BE49-F238E27FC236}">
                  <a16:creationId xmlns:a16="http://schemas.microsoft.com/office/drawing/2014/main" id="{CB4D395D-A64D-7E4B-A377-E65CB36D53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2" y="2395"/>
              <a:ext cx="178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600">
                  <a:solidFill>
                    <a:srgbClr val="000000"/>
                  </a:solidFill>
                </a:rPr>
                <a:t>84</a:t>
              </a:r>
              <a:endParaRPr lang="de-DE" altLang="de-DE" sz="1600"/>
            </a:p>
          </p:txBody>
        </p:sp>
        <p:sp>
          <p:nvSpPr>
            <p:cNvPr id="42041" name="Rectangle 57">
              <a:extLst>
                <a:ext uri="{FF2B5EF4-FFF2-40B4-BE49-F238E27FC236}">
                  <a16:creationId xmlns:a16="http://schemas.microsoft.com/office/drawing/2014/main" id="{2A94A2EE-1E76-AE49-B0BC-418412E5E6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0" y="1132"/>
              <a:ext cx="555" cy="238"/>
            </a:xfrm>
            <a:prstGeom prst="rect">
              <a:avLst/>
            </a:prstGeom>
            <a:solidFill>
              <a:srgbClr val="FFFF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42" name="Rectangle 58">
              <a:extLst>
                <a:ext uri="{FF2B5EF4-FFF2-40B4-BE49-F238E27FC236}">
                  <a16:creationId xmlns:a16="http://schemas.microsoft.com/office/drawing/2014/main" id="{25A67228-D095-FD43-BE0D-D5E141C4F9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9" y="1527"/>
              <a:ext cx="527" cy="238"/>
            </a:xfrm>
            <a:prstGeom prst="rect">
              <a:avLst/>
            </a:prstGeom>
            <a:solidFill>
              <a:srgbClr val="FFFF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43" name="Rectangle 59">
              <a:extLst>
                <a:ext uri="{FF2B5EF4-FFF2-40B4-BE49-F238E27FC236}">
                  <a16:creationId xmlns:a16="http://schemas.microsoft.com/office/drawing/2014/main" id="{49846C81-FE99-6D47-A0F5-DF60B590D9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0" y="1924"/>
              <a:ext cx="511" cy="238"/>
            </a:xfrm>
            <a:prstGeom prst="rect">
              <a:avLst/>
            </a:prstGeom>
            <a:solidFill>
              <a:srgbClr val="FFFF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44" name="Rectangle 60">
              <a:extLst>
                <a:ext uri="{FF2B5EF4-FFF2-40B4-BE49-F238E27FC236}">
                  <a16:creationId xmlns:a16="http://schemas.microsoft.com/office/drawing/2014/main" id="{42AD99FE-A394-554B-A67A-AF826B4F82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3" y="2316"/>
              <a:ext cx="515" cy="238"/>
            </a:xfrm>
            <a:prstGeom prst="rect">
              <a:avLst/>
            </a:prstGeom>
            <a:solidFill>
              <a:srgbClr val="FFFF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45" name="Rectangle 61">
              <a:extLst>
                <a:ext uri="{FF2B5EF4-FFF2-40B4-BE49-F238E27FC236}">
                  <a16:creationId xmlns:a16="http://schemas.microsoft.com/office/drawing/2014/main" id="{280CA8E2-71E6-484F-8BBA-7D0A17230C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5" y="1132"/>
              <a:ext cx="320" cy="238"/>
            </a:xfrm>
            <a:prstGeom prst="rect">
              <a:avLst/>
            </a:prstGeom>
            <a:solidFill>
              <a:srgbClr val="FF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46" name="Rectangle 62">
              <a:extLst>
                <a:ext uri="{FF2B5EF4-FFF2-40B4-BE49-F238E27FC236}">
                  <a16:creationId xmlns:a16="http://schemas.microsoft.com/office/drawing/2014/main" id="{28696A0A-4339-C449-AF75-1264242487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6" y="1527"/>
              <a:ext cx="352" cy="238"/>
            </a:xfrm>
            <a:prstGeom prst="rect">
              <a:avLst/>
            </a:prstGeom>
            <a:solidFill>
              <a:srgbClr val="FF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47" name="Rectangle 63">
              <a:extLst>
                <a:ext uri="{FF2B5EF4-FFF2-40B4-BE49-F238E27FC236}">
                  <a16:creationId xmlns:a16="http://schemas.microsoft.com/office/drawing/2014/main" id="{B0AC5924-381B-0E4E-B2A2-FF283E8DB0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1" y="1924"/>
              <a:ext cx="367" cy="238"/>
            </a:xfrm>
            <a:prstGeom prst="rect">
              <a:avLst/>
            </a:prstGeom>
            <a:solidFill>
              <a:srgbClr val="FF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48" name="Rectangle 64">
              <a:extLst>
                <a:ext uri="{FF2B5EF4-FFF2-40B4-BE49-F238E27FC236}">
                  <a16:creationId xmlns:a16="http://schemas.microsoft.com/office/drawing/2014/main" id="{457528C6-2E94-2842-BEB5-7DE8E8B5FD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8" y="2316"/>
              <a:ext cx="350" cy="238"/>
            </a:xfrm>
            <a:prstGeom prst="rect">
              <a:avLst/>
            </a:prstGeom>
            <a:solidFill>
              <a:srgbClr val="FF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49" name="Rectangle 65">
              <a:extLst>
                <a:ext uri="{FF2B5EF4-FFF2-40B4-BE49-F238E27FC236}">
                  <a16:creationId xmlns:a16="http://schemas.microsoft.com/office/drawing/2014/main" id="{BB21AECC-29E4-7B43-ABE0-9249DBEC57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5" y="1132"/>
              <a:ext cx="371" cy="238"/>
            </a:xfrm>
            <a:prstGeom prst="rect">
              <a:avLst/>
            </a:prstGeom>
            <a:solidFill>
              <a:srgbClr val="FF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50" name="Rectangle 66">
              <a:extLst>
                <a:ext uri="{FF2B5EF4-FFF2-40B4-BE49-F238E27FC236}">
                  <a16:creationId xmlns:a16="http://schemas.microsoft.com/office/drawing/2014/main" id="{6664304C-6496-6E45-B30F-A0F90A8B05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8" y="1527"/>
              <a:ext cx="351" cy="238"/>
            </a:xfrm>
            <a:prstGeom prst="rect">
              <a:avLst/>
            </a:prstGeom>
            <a:solidFill>
              <a:srgbClr val="FF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51" name="Rectangle 67">
              <a:extLst>
                <a:ext uri="{FF2B5EF4-FFF2-40B4-BE49-F238E27FC236}">
                  <a16:creationId xmlns:a16="http://schemas.microsoft.com/office/drawing/2014/main" id="{A655A715-F649-3747-A23A-D8F688DAE8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8" y="1924"/>
              <a:ext cx="371" cy="238"/>
            </a:xfrm>
            <a:prstGeom prst="rect">
              <a:avLst/>
            </a:prstGeom>
            <a:solidFill>
              <a:srgbClr val="FF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52" name="Rectangle 68">
              <a:extLst>
                <a:ext uri="{FF2B5EF4-FFF2-40B4-BE49-F238E27FC236}">
                  <a16:creationId xmlns:a16="http://schemas.microsoft.com/office/drawing/2014/main" id="{F952AC8F-C00E-AD44-83F9-10DAA17908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8" y="2316"/>
              <a:ext cx="356" cy="238"/>
            </a:xfrm>
            <a:prstGeom prst="rect">
              <a:avLst/>
            </a:prstGeom>
            <a:solidFill>
              <a:srgbClr val="FF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53" name="Rectangle 69">
              <a:extLst>
                <a:ext uri="{FF2B5EF4-FFF2-40B4-BE49-F238E27FC236}">
                  <a16:creationId xmlns:a16="http://schemas.microsoft.com/office/drawing/2014/main" id="{022902E1-E333-AB4E-8DEE-06802C7BE1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6" y="1132"/>
              <a:ext cx="436" cy="238"/>
            </a:xfrm>
            <a:prstGeom prst="rect">
              <a:avLst/>
            </a:prstGeom>
            <a:solidFill>
              <a:srgbClr val="FFFF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54" name="Rectangle 70">
              <a:extLst>
                <a:ext uri="{FF2B5EF4-FFF2-40B4-BE49-F238E27FC236}">
                  <a16:creationId xmlns:a16="http://schemas.microsoft.com/office/drawing/2014/main" id="{49B01ACB-0ADE-DE48-827A-2E4D9449C6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9" y="1527"/>
              <a:ext cx="530" cy="238"/>
            </a:xfrm>
            <a:prstGeom prst="rect">
              <a:avLst/>
            </a:prstGeom>
            <a:solidFill>
              <a:srgbClr val="FFFF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55" name="Rectangle 71">
              <a:extLst>
                <a:ext uri="{FF2B5EF4-FFF2-40B4-BE49-F238E27FC236}">
                  <a16:creationId xmlns:a16="http://schemas.microsoft.com/office/drawing/2014/main" id="{D19471BB-231A-8F40-A258-E333D1E27D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9" y="1924"/>
              <a:ext cx="537" cy="238"/>
            </a:xfrm>
            <a:prstGeom prst="rect">
              <a:avLst/>
            </a:prstGeom>
            <a:solidFill>
              <a:srgbClr val="FFFF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56" name="Rectangle 72">
              <a:extLst>
                <a:ext uri="{FF2B5EF4-FFF2-40B4-BE49-F238E27FC236}">
                  <a16:creationId xmlns:a16="http://schemas.microsoft.com/office/drawing/2014/main" id="{591B82B2-293D-AE4C-A3FE-44CAF1775F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4" y="2316"/>
              <a:ext cx="501" cy="238"/>
            </a:xfrm>
            <a:prstGeom prst="rect">
              <a:avLst/>
            </a:prstGeom>
            <a:solidFill>
              <a:srgbClr val="FFFF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57" name="Line 73">
              <a:extLst>
                <a:ext uri="{FF2B5EF4-FFF2-40B4-BE49-F238E27FC236}">
                  <a16:creationId xmlns:a16="http://schemas.microsoft.com/office/drawing/2014/main" id="{8E786CF6-7B68-7148-9032-83415FFD03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8" y="1113"/>
              <a:ext cx="0" cy="153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2058" name="Line 74">
              <a:extLst>
                <a:ext uri="{FF2B5EF4-FFF2-40B4-BE49-F238E27FC236}">
                  <a16:creationId xmlns:a16="http://schemas.microsoft.com/office/drawing/2014/main" id="{C9D205CA-AE4C-1E47-BDA5-7EE1C998A1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85" y="1113"/>
              <a:ext cx="0" cy="153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42137" name="Rectangle 153">
            <a:extLst>
              <a:ext uri="{FF2B5EF4-FFF2-40B4-BE49-F238E27FC236}">
                <a16:creationId xmlns:a16="http://schemas.microsoft.com/office/drawing/2014/main" id="{0C57F559-52E6-E341-90ED-B433882B8C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92725" y="2852738"/>
            <a:ext cx="900113" cy="1944687"/>
          </a:xfrm>
          <a:prstGeom prst="rect">
            <a:avLst/>
          </a:prstGeom>
          <a:solidFill>
            <a:srgbClr val="FF0000">
              <a:alpha val="5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42138" name="Rectangle 154">
            <a:extLst>
              <a:ext uri="{FF2B5EF4-FFF2-40B4-BE49-F238E27FC236}">
                <a16:creationId xmlns:a16="http://schemas.microsoft.com/office/drawing/2014/main" id="{5D20CED4-8244-F94B-BE3E-887773422F5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b="1"/>
              <a:t>Noten und Leistungen - Mathematik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2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84D5EC3-4A9E-684F-997D-024D9B65AC1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C937B34-F5FE-864B-8D7A-9A007BEBA7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EE4013-7C64-7A4A-8FFE-3E29DD486258}" type="slidenum">
              <a:rPr lang="de-DE" altLang="de-DE"/>
              <a:pPr/>
              <a:t>12</a:t>
            </a:fld>
            <a:endParaRPr lang="de-DE" altLang="de-DE"/>
          </a:p>
        </p:txBody>
      </p:sp>
      <p:sp>
        <p:nvSpPr>
          <p:cNvPr id="95234" name="Rectangle 2">
            <a:extLst>
              <a:ext uri="{FF2B5EF4-FFF2-40B4-BE49-F238E27FC236}">
                <a16:creationId xmlns:a16="http://schemas.microsoft.com/office/drawing/2014/main" id="{95F6BDE1-8A9A-F243-919C-2A69C676464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Befund 2</a:t>
            </a:r>
          </a:p>
        </p:txBody>
      </p:sp>
      <p:sp>
        <p:nvSpPr>
          <p:cNvPr id="95235" name="Rectangle 3">
            <a:extLst>
              <a:ext uri="{FF2B5EF4-FFF2-40B4-BE49-F238E27FC236}">
                <a16:creationId xmlns:a16="http://schemas.microsoft.com/office/drawing/2014/main" id="{0AE31574-AECE-BA4F-A71E-47A7916498C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57200" y="2216150"/>
            <a:ext cx="8229600" cy="2220913"/>
          </a:xfrm>
        </p:spPr>
        <p:txBody>
          <a:bodyPr/>
          <a:lstStyle/>
          <a:p>
            <a:pPr algn="ctr">
              <a:buFont typeface="Wingdings" pitchFamily="2" charset="2"/>
              <a:buNone/>
            </a:pPr>
            <a:r>
              <a:rPr lang="de-DE" altLang="de-DE" sz="3600"/>
              <a:t>Die Schulnoten geben nur begrenzt die Schulleistungen wieder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2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52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52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952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5235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B2382050-2083-F847-B14E-FEAF7BF00ED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9" name="Foliennummernplatzhalter 4">
            <a:extLst>
              <a:ext uri="{FF2B5EF4-FFF2-40B4-BE49-F238E27FC236}">
                <a16:creationId xmlns:a16="http://schemas.microsoft.com/office/drawing/2014/main" id="{10364110-0576-4140-8C6B-95B85FBEB7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90E8DA4-AF46-0B49-AA02-4D1F53BF9A63}" type="slidenum">
              <a:rPr lang="de-DE" altLang="de-DE"/>
              <a:pPr/>
              <a:t>13</a:t>
            </a:fld>
            <a:endParaRPr lang="de-DE" altLang="de-DE"/>
          </a:p>
        </p:txBody>
      </p:sp>
      <p:sp>
        <p:nvSpPr>
          <p:cNvPr id="47106" name="Rectangle 2">
            <a:extLst>
              <a:ext uri="{FF2B5EF4-FFF2-40B4-BE49-F238E27FC236}">
                <a16:creationId xmlns:a16="http://schemas.microsoft.com/office/drawing/2014/main" id="{5AA0487D-CCB7-C348-AAA5-0F5D2D59161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22263" y="44450"/>
            <a:ext cx="7345362" cy="720725"/>
          </a:xfrm>
        </p:spPr>
        <p:txBody>
          <a:bodyPr/>
          <a:lstStyle/>
          <a:p>
            <a:r>
              <a:rPr lang="de-DE" altLang="de-DE" b="1"/>
              <a:t>Leistungen und Bildungsniveau Eltern</a:t>
            </a:r>
          </a:p>
        </p:txBody>
      </p:sp>
      <p:sp>
        <p:nvSpPr>
          <p:cNvPr id="47107" name="Text Box 3">
            <a:extLst>
              <a:ext uri="{FF2B5EF4-FFF2-40B4-BE49-F238E27FC236}">
                <a16:creationId xmlns:a16="http://schemas.microsoft.com/office/drawing/2014/main" id="{D1951A28-20C6-E941-A73C-3D6071C3F7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32588" y="2565400"/>
            <a:ext cx="1520825" cy="2282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de-DE" altLang="de-DE" sz="2400"/>
              <a:t>höher </a:t>
            </a:r>
            <a:br>
              <a:rPr lang="de-DE" altLang="de-DE" sz="2400"/>
            </a:br>
            <a:r>
              <a:rPr lang="de-DE" altLang="de-DE" sz="2400"/>
              <a:t>als Sek. II</a:t>
            </a:r>
          </a:p>
          <a:p>
            <a:pPr eaLnBrk="0" hangingPunct="0"/>
            <a:endParaRPr lang="de-DE" altLang="de-DE" sz="2400"/>
          </a:p>
          <a:p>
            <a:pPr eaLnBrk="0" hangingPunct="0"/>
            <a:endParaRPr lang="de-DE" altLang="de-DE" sz="2400"/>
          </a:p>
          <a:p>
            <a:pPr eaLnBrk="0" hangingPunct="0"/>
            <a:r>
              <a:rPr lang="de-DE" altLang="de-DE" sz="2400"/>
              <a:t>niedriger</a:t>
            </a:r>
          </a:p>
          <a:p>
            <a:pPr eaLnBrk="0" hangingPunct="0"/>
            <a:r>
              <a:rPr lang="de-DE" altLang="de-DE" sz="2400"/>
              <a:t>als Sek. II</a:t>
            </a:r>
          </a:p>
        </p:txBody>
      </p:sp>
      <p:grpSp>
        <p:nvGrpSpPr>
          <p:cNvPr id="47114" name="Group 10">
            <a:extLst>
              <a:ext uri="{FF2B5EF4-FFF2-40B4-BE49-F238E27FC236}">
                <a16:creationId xmlns:a16="http://schemas.microsoft.com/office/drawing/2014/main" id="{BD1792E3-5EC3-DD42-B0CE-59944022D7C6}"/>
              </a:ext>
            </a:extLst>
          </p:cNvPr>
          <p:cNvGrpSpPr>
            <a:grpSpLocks/>
          </p:cNvGrpSpPr>
          <p:nvPr/>
        </p:nvGrpSpPr>
        <p:grpSpPr bwMode="auto">
          <a:xfrm>
            <a:off x="468313" y="1495425"/>
            <a:ext cx="6059487" cy="4021138"/>
            <a:chOff x="295" y="966"/>
            <a:chExt cx="3817" cy="2533"/>
          </a:xfrm>
        </p:grpSpPr>
        <p:pic>
          <p:nvPicPr>
            <p:cNvPr id="47109" name="Picture 5">
              <a:extLst>
                <a:ext uri="{FF2B5EF4-FFF2-40B4-BE49-F238E27FC236}">
                  <a16:creationId xmlns:a16="http://schemas.microsoft.com/office/drawing/2014/main" id="{AC24C18C-B5B2-0F41-B744-E48777E45F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937" y="324"/>
              <a:ext cx="2533" cy="38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7110" name="Rectangle 6">
              <a:extLst>
                <a:ext uri="{FF2B5EF4-FFF2-40B4-BE49-F238E27FC236}">
                  <a16:creationId xmlns:a16="http://schemas.microsoft.com/office/drawing/2014/main" id="{A7ACBAFF-D7C6-CF47-9300-7AA470F95A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" y="981"/>
              <a:ext cx="3447" cy="4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47112" name="Rectangle 8">
            <a:extLst>
              <a:ext uri="{FF2B5EF4-FFF2-40B4-BE49-F238E27FC236}">
                <a16:creationId xmlns:a16="http://schemas.microsoft.com/office/drawing/2014/main" id="{76240FEC-CFDF-C548-A29F-CB9DE0B82D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31913" y="5805488"/>
            <a:ext cx="39814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de-DE" altLang="de-DE">
                <a:solidFill>
                  <a:schemeClr val="tx2"/>
                </a:solidFill>
              </a:rPr>
              <a:t>PISA-Ergebnisse 2003 in Mathematik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F6DB6B-2E8F-F741-B641-5CCD987D50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DA992E-15ED-FA41-9A6A-AC8628D4816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E68E99E-4B43-5A49-B92D-63F949727B17}" type="slidenum">
              <a:rPr lang="de-DE" altLang="de-DE"/>
              <a:pPr/>
              <a:t>14</a:t>
            </a:fld>
            <a:endParaRPr lang="de-DE" altLang="de-DE"/>
          </a:p>
        </p:txBody>
      </p:sp>
      <p:sp>
        <p:nvSpPr>
          <p:cNvPr id="99330" name="Rectangle 2">
            <a:extLst>
              <a:ext uri="{FF2B5EF4-FFF2-40B4-BE49-F238E27FC236}">
                <a16:creationId xmlns:a16="http://schemas.microsoft.com/office/drawing/2014/main" id="{8CD91737-80CE-3C4E-AD37-04271586340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Befund 3</a:t>
            </a:r>
          </a:p>
        </p:txBody>
      </p:sp>
      <p:sp>
        <p:nvSpPr>
          <p:cNvPr id="99331" name="Rectangle 3">
            <a:extLst>
              <a:ext uri="{FF2B5EF4-FFF2-40B4-BE49-F238E27FC236}">
                <a16:creationId xmlns:a16="http://schemas.microsoft.com/office/drawing/2014/main" id="{0A9FAB30-C13B-A747-B523-7808C8227E3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57200" y="2216150"/>
            <a:ext cx="8229600" cy="2220913"/>
          </a:xfrm>
        </p:spPr>
        <p:txBody>
          <a:bodyPr/>
          <a:lstStyle/>
          <a:p>
            <a:pPr algn="ctr">
              <a:buFont typeface="Wingdings" pitchFamily="2" charset="2"/>
              <a:buNone/>
            </a:pPr>
            <a:r>
              <a:rPr lang="de-DE" altLang="de-DE" sz="3600"/>
              <a:t>Bildungsstand ist vom Bildungsstand der Eltern abhängig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3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93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93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993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331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BEF8E9-5F15-E747-8297-D1BCA7D28C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C0CD132-DF04-5543-845B-CC24CECE8C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41C1FAF-AEA7-E944-9EEB-111B93AC8590}" type="slidenum">
              <a:rPr lang="de-DE" altLang="de-DE"/>
              <a:pPr/>
              <a:t>15</a:t>
            </a:fld>
            <a:endParaRPr lang="de-DE" altLang="de-DE"/>
          </a:p>
        </p:txBody>
      </p:sp>
      <p:sp>
        <p:nvSpPr>
          <p:cNvPr id="44034" name="Rectangle 2">
            <a:extLst>
              <a:ext uri="{FF2B5EF4-FFF2-40B4-BE49-F238E27FC236}">
                <a16:creationId xmlns:a16="http://schemas.microsoft.com/office/drawing/2014/main" id="{9FC99329-17C5-744E-ABBC-2F04A9DA359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b="1"/>
              <a:t>Ungerecht!</a:t>
            </a:r>
          </a:p>
        </p:txBody>
      </p:sp>
      <p:sp>
        <p:nvSpPr>
          <p:cNvPr id="44035" name="Rectangle 3">
            <a:extLst>
              <a:ext uri="{FF2B5EF4-FFF2-40B4-BE49-F238E27FC236}">
                <a16:creationId xmlns:a16="http://schemas.microsoft.com/office/drawing/2014/main" id="{C77900CD-513E-1944-9F44-E03084B589D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11188" y="1700213"/>
            <a:ext cx="8229600" cy="4525962"/>
          </a:xfrm>
        </p:spPr>
        <p:txBody>
          <a:bodyPr/>
          <a:lstStyle/>
          <a:p>
            <a:r>
              <a:rPr lang="de-DE" altLang="de-DE" sz="3200"/>
              <a:t>Kinder aus bildungsfernen Schichten</a:t>
            </a:r>
          </a:p>
          <a:p>
            <a:r>
              <a:rPr lang="de-DE" altLang="de-DE" sz="3200"/>
              <a:t>Migrantenkinder</a:t>
            </a:r>
          </a:p>
          <a:p>
            <a:r>
              <a:rPr lang="de-DE" altLang="de-DE" sz="3200"/>
              <a:t>Kinder alleinerziehender Mütter</a:t>
            </a:r>
          </a:p>
          <a:p>
            <a:r>
              <a:rPr lang="de-DE" altLang="de-DE" sz="3200"/>
              <a:t>Jungen (Lesedefizite)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40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40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40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40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40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40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40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40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440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40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40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440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035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22DC36B9-2C3C-A04B-AD48-6AA7D83E16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7" name="Foliennummernplatzhalter 4">
            <a:extLst>
              <a:ext uri="{FF2B5EF4-FFF2-40B4-BE49-F238E27FC236}">
                <a16:creationId xmlns:a16="http://schemas.microsoft.com/office/drawing/2014/main" id="{5D4A2272-B89D-2F45-999D-6DE3B1C875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56F270C-4B7D-3E40-BE68-C988C33D9D39}" type="slidenum">
              <a:rPr lang="de-DE" altLang="de-DE"/>
              <a:pPr/>
              <a:t>16</a:t>
            </a:fld>
            <a:endParaRPr lang="de-DE" altLang="de-DE"/>
          </a:p>
        </p:txBody>
      </p:sp>
      <p:sp>
        <p:nvSpPr>
          <p:cNvPr id="70658" name="Rectangle 2">
            <a:extLst>
              <a:ext uri="{FF2B5EF4-FFF2-40B4-BE49-F238E27FC236}">
                <a16:creationId xmlns:a16="http://schemas.microsoft.com/office/drawing/2014/main" id="{976E6C2B-C4C2-F34C-8515-33BC1A9DB7D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3 Botschaften</a:t>
            </a:r>
          </a:p>
        </p:txBody>
      </p:sp>
      <p:sp>
        <p:nvSpPr>
          <p:cNvPr id="70659" name="Rectangle 3">
            <a:extLst>
              <a:ext uri="{FF2B5EF4-FFF2-40B4-BE49-F238E27FC236}">
                <a16:creationId xmlns:a16="http://schemas.microsoft.com/office/drawing/2014/main" id="{363EDB95-C700-E64C-A1C1-C7B9E6D08E8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042988" y="1639888"/>
            <a:ext cx="7643812" cy="4525962"/>
          </a:xfrm>
        </p:spPr>
        <p:txBody>
          <a:bodyPr/>
          <a:lstStyle/>
          <a:p>
            <a:r>
              <a:rPr lang="de-DE" altLang="de-DE" sz="3200"/>
              <a:t>Wir verteilen Bildung ungerecht.</a:t>
            </a:r>
            <a:br>
              <a:rPr lang="de-DE" altLang="de-DE" sz="3200"/>
            </a:br>
            <a:endParaRPr lang="de-DE" altLang="de-DE" sz="3200"/>
          </a:p>
          <a:p>
            <a:r>
              <a:rPr lang="de-DE" altLang="de-DE" sz="3200"/>
              <a:t>Wir schöpfen unsere Ressourcen nicht aus.</a:t>
            </a:r>
            <a:br>
              <a:rPr lang="de-DE" altLang="de-DE" sz="3200"/>
            </a:br>
            <a:endParaRPr lang="de-DE" altLang="de-DE" sz="3200"/>
          </a:p>
          <a:p>
            <a:r>
              <a:rPr lang="de-DE" altLang="de-DE" sz="3200"/>
              <a:t>Reform kann gelingen!</a:t>
            </a:r>
          </a:p>
        </p:txBody>
      </p:sp>
      <p:sp>
        <p:nvSpPr>
          <p:cNvPr id="70660" name="Rectangle 4">
            <a:extLst>
              <a:ext uri="{FF2B5EF4-FFF2-40B4-BE49-F238E27FC236}">
                <a16:creationId xmlns:a16="http://schemas.microsoft.com/office/drawing/2014/main" id="{C77B0E30-8D2F-5C4C-ADE8-B31AFD2EC3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7088" y="1196975"/>
            <a:ext cx="7993062" cy="1368425"/>
          </a:xfrm>
          <a:prstGeom prst="rect">
            <a:avLst/>
          </a:prstGeom>
          <a:solidFill>
            <a:schemeClr val="accent1">
              <a:alpha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70661" name="Rectangle 5">
            <a:extLst>
              <a:ext uri="{FF2B5EF4-FFF2-40B4-BE49-F238E27FC236}">
                <a16:creationId xmlns:a16="http://schemas.microsoft.com/office/drawing/2014/main" id="{EF050C15-05CF-4F41-B98B-7F5375B93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7088" y="3933825"/>
            <a:ext cx="7993062" cy="12954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B1B4D86-FAD7-2940-A9F7-B6AD1FAFC3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7093FCDD-1DCA-C340-9078-F30D881B67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E9521EC-1465-B446-AA8D-6CDC32C4A3BD}" type="slidenum">
              <a:rPr lang="de-DE" altLang="de-DE"/>
              <a:pPr/>
              <a:t>17</a:t>
            </a:fld>
            <a:endParaRPr lang="de-DE" altLang="de-DE"/>
          </a:p>
        </p:txBody>
      </p:sp>
      <p:sp>
        <p:nvSpPr>
          <p:cNvPr id="48130" name="Rectangle 2">
            <a:extLst>
              <a:ext uri="{FF2B5EF4-FFF2-40B4-BE49-F238E27FC236}">
                <a16:creationId xmlns:a16="http://schemas.microsoft.com/office/drawing/2014/main" id="{E3A071C0-8784-BA44-97BF-5DE1A186DF6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altLang="de-DE" b="1"/>
              <a:t>Leistungen nach Zuwanderung</a:t>
            </a:r>
          </a:p>
        </p:txBody>
      </p:sp>
      <p:sp>
        <p:nvSpPr>
          <p:cNvPr id="48132" name="Rectangle 4">
            <a:extLst>
              <a:ext uri="{FF2B5EF4-FFF2-40B4-BE49-F238E27FC236}">
                <a16:creationId xmlns:a16="http://schemas.microsoft.com/office/drawing/2014/main" id="{1CD7A0C3-019B-4440-BA1D-1FE2EB3747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750" y="1268413"/>
            <a:ext cx="8424863" cy="41036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pic>
        <p:nvPicPr>
          <p:cNvPr id="48134" name="Picture 6">
            <a:extLst>
              <a:ext uri="{FF2B5EF4-FFF2-40B4-BE49-F238E27FC236}">
                <a16:creationId xmlns:a16="http://schemas.microsoft.com/office/drawing/2014/main" id="{DA1356F5-9F34-B143-B3C6-E9157EB1C6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3202782" y="-70644"/>
            <a:ext cx="2832100" cy="7542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135" name="Text Box 7">
            <a:extLst>
              <a:ext uri="{FF2B5EF4-FFF2-40B4-BE49-F238E27FC236}">
                <a16:creationId xmlns:a16="http://schemas.microsoft.com/office/drawing/2014/main" id="{7939A4F1-FFD4-7146-AA97-9F1D868165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09950" y="1268413"/>
            <a:ext cx="2686050" cy="36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hangingPunct="0"/>
            <a:r>
              <a:rPr lang="de-DE" altLang="de-DE" b="1">
                <a:solidFill>
                  <a:srgbClr val="414141"/>
                </a:solidFill>
              </a:rPr>
              <a:t>PISA 2003: Mathematik</a:t>
            </a:r>
          </a:p>
        </p:txBody>
      </p:sp>
      <p:sp>
        <p:nvSpPr>
          <p:cNvPr id="48136" name="Oval 8">
            <a:extLst>
              <a:ext uri="{FF2B5EF4-FFF2-40B4-BE49-F238E27FC236}">
                <a16:creationId xmlns:a16="http://schemas.microsoft.com/office/drawing/2014/main" id="{73C6E9F9-5C58-B641-907F-AF51192288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9488" y="2551113"/>
            <a:ext cx="1042987" cy="1624012"/>
          </a:xfrm>
          <a:prstGeom prst="ellipse">
            <a:avLst/>
          </a:prstGeom>
          <a:noFill/>
          <a:ln w="571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48137" name="Oval 9">
            <a:extLst>
              <a:ext uri="{FF2B5EF4-FFF2-40B4-BE49-F238E27FC236}">
                <a16:creationId xmlns:a16="http://schemas.microsoft.com/office/drawing/2014/main" id="{1CC5BE33-219B-564B-99FC-6FB20B03C1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5538" y="2390775"/>
            <a:ext cx="944562" cy="501650"/>
          </a:xfrm>
          <a:prstGeom prst="ellipse">
            <a:avLst/>
          </a:prstGeom>
          <a:noFill/>
          <a:ln w="571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81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81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8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81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81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8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D6FC529-4D0E-0E45-95C2-5A2DB25AC1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7E474A2-22AA-7344-AEB2-B626A05627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028FCF0-ED5B-E541-8DE8-CD28E88C35E7}" type="slidenum">
              <a:rPr lang="de-DE" altLang="de-DE"/>
              <a:pPr/>
              <a:t>18</a:t>
            </a:fld>
            <a:endParaRPr lang="de-DE" altLang="de-DE"/>
          </a:p>
        </p:txBody>
      </p:sp>
      <p:sp>
        <p:nvSpPr>
          <p:cNvPr id="101378" name="Rectangle 2">
            <a:extLst>
              <a:ext uri="{FF2B5EF4-FFF2-40B4-BE49-F238E27FC236}">
                <a16:creationId xmlns:a16="http://schemas.microsoft.com/office/drawing/2014/main" id="{D6C526B9-1294-7143-9D2F-FB0E1D906A4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Befund 4</a:t>
            </a:r>
          </a:p>
        </p:txBody>
      </p:sp>
      <p:sp>
        <p:nvSpPr>
          <p:cNvPr id="101379" name="Rectangle 3">
            <a:extLst>
              <a:ext uri="{FF2B5EF4-FFF2-40B4-BE49-F238E27FC236}">
                <a16:creationId xmlns:a16="http://schemas.microsoft.com/office/drawing/2014/main" id="{F325DF46-B935-184E-85BE-979FC24227D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57200" y="2216150"/>
            <a:ext cx="8229600" cy="2220913"/>
          </a:xfrm>
        </p:spPr>
        <p:txBody>
          <a:bodyPr/>
          <a:lstStyle/>
          <a:p>
            <a:pPr algn="ctr">
              <a:buFont typeface="Wingdings" pitchFamily="2" charset="2"/>
              <a:buNone/>
            </a:pPr>
            <a:r>
              <a:rPr lang="de-DE" altLang="de-DE" sz="3600"/>
              <a:t>Chance 1: Zuwanderer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3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013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13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013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379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ußzeilenplatzhalter 3">
            <a:extLst>
              <a:ext uri="{FF2B5EF4-FFF2-40B4-BE49-F238E27FC236}">
                <a16:creationId xmlns:a16="http://schemas.microsoft.com/office/drawing/2014/main" id="{29B5D91E-AE2F-B245-9F35-DAAC149071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54" name="Foliennummernplatzhalter 4">
            <a:extLst>
              <a:ext uri="{FF2B5EF4-FFF2-40B4-BE49-F238E27FC236}">
                <a16:creationId xmlns:a16="http://schemas.microsoft.com/office/drawing/2014/main" id="{CBA17EC7-5A5C-FE41-8BC3-6775B5D6C3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BB2EC89-8E8E-9F4D-B6A1-4107457F772A}" type="slidenum">
              <a:rPr lang="de-DE" altLang="de-DE"/>
              <a:pPr/>
              <a:t>19</a:t>
            </a:fld>
            <a:endParaRPr lang="de-DE" altLang="de-DE"/>
          </a:p>
        </p:txBody>
      </p:sp>
      <p:pic>
        <p:nvPicPr>
          <p:cNvPr id="24578" name="Picture 2">
            <a:extLst>
              <a:ext uri="{FF2B5EF4-FFF2-40B4-BE49-F238E27FC236}">
                <a16:creationId xmlns:a16="http://schemas.microsoft.com/office/drawing/2014/main" id="{8EE9963E-8F86-8C48-8DEC-7F6DB7F929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50" y="1341438"/>
            <a:ext cx="8459788" cy="340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4579" name="Group 3">
            <a:extLst>
              <a:ext uri="{FF2B5EF4-FFF2-40B4-BE49-F238E27FC236}">
                <a16:creationId xmlns:a16="http://schemas.microsoft.com/office/drawing/2014/main" id="{4DC98929-D234-F74D-B1A7-5157E3592426}"/>
              </a:ext>
            </a:extLst>
          </p:cNvPr>
          <p:cNvGrpSpPr>
            <a:grpSpLocks/>
          </p:cNvGrpSpPr>
          <p:nvPr/>
        </p:nvGrpSpPr>
        <p:grpSpPr bwMode="auto">
          <a:xfrm>
            <a:off x="1395413" y="3429000"/>
            <a:ext cx="1797050" cy="1046163"/>
            <a:chOff x="839" y="2296"/>
            <a:chExt cx="1132" cy="659"/>
          </a:xfrm>
        </p:grpSpPr>
        <p:sp>
          <p:nvSpPr>
            <p:cNvPr id="24580" name="Text Box 4">
              <a:extLst>
                <a:ext uri="{FF2B5EF4-FFF2-40B4-BE49-F238E27FC236}">
                  <a16:creationId xmlns:a16="http://schemas.microsoft.com/office/drawing/2014/main" id="{26CB0F23-B611-6646-BC88-CAD4C847CA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9" y="2296"/>
              <a:ext cx="1132" cy="3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1400" b="1">
                  <a:sym typeface="Symbol" pitchFamily="2" charset="2"/>
                </a:rPr>
                <a:t> Jahrgangsstärke</a:t>
              </a:r>
              <a:br>
                <a:rPr lang="de-DE" altLang="de-DE" sz="1400" b="1">
                  <a:sym typeface="Symbol" pitchFamily="2" charset="2"/>
                </a:rPr>
              </a:br>
              <a:r>
                <a:rPr lang="de-DE" altLang="de-DE" sz="1400" b="1">
                  <a:sym typeface="Symbol" pitchFamily="2" charset="2"/>
                </a:rPr>
                <a:t>20- &lt;  25-Jährige</a:t>
              </a:r>
            </a:p>
          </p:txBody>
        </p:sp>
        <p:sp>
          <p:nvSpPr>
            <p:cNvPr id="24581" name="Text Box 5">
              <a:extLst>
                <a:ext uri="{FF2B5EF4-FFF2-40B4-BE49-F238E27FC236}">
                  <a16:creationId xmlns:a16="http://schemas.microsoft.com/office/drawing/2014/main" id="{D9E60959-086A-0440-9FD9-90D50EDC7BD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9" y="2629"/>
              <a:ext cx="1132" cy="3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1400" b="1">
                  <a:sym typeface="Symbol" pitchFamily="2" charset="2"/>
                </a:rPr>
                <a:t> Jahrgangsstärke</a:t>
              </a:r>
              <a:br>
                <a:rPr lang="de-DE" altLang="de-DE" sz="1400" b="1">
                  <a:sym typeface="Symbol" pitchFamily="2" charset="2"/>
                </a:rPr>
              </a:br>
              <a:r>
                <a:rPr lang="de-DE" altLang="de-DE" sz="1400" b="1">
                  <a:sym typeface="Symbol" pitchFamily="2" charset="2"/>
                </a:rPr>
                <a:t>60- &lt;  65-Jährige</a:t>
              </a:r>
            </a:p>
          </p:txBody>
        </p:sp>
      </p:grpSp>
      <p:grpSp>
        <p:nvGrpSpPr>
          <p:cNvPr id="24582" name="Group 6">
            <a:extLst>
              <a:ext uri="{FF2B5EF4-FFF2-40B4-BE49-F238E27FC236}">
                <a16:creationId xmlns:a16="http://schemas.microsoft.com/office/drawing/2014/main" id="{B226A792-F68E-CA4A-B550-06414BBC4B68}"/>
              </a:ext>
            </a:extLst>
          </p:cNvPr>
          <p:cNvGrpSpPr>
            <a:grpSpLocks/>
          </p:cNvGrpSpPr>
          <p:nvPr/>
        </p:nvGrpSpPr>
        <p:grpSpPr bwMode="auto">
          <a:xfrm>
            <a:off x="747713" y="4581525"/>
            <a:ext cx="692150" cy="654050"/>
            <a:chOff x="431" y="3022"/>
            <a:chExt cx="436" cy="412"/>
          </a:xfrm>
        </p:grpSpPr>
        <p:sp>
          <p:nvSpPr>
            <p:cNvPr id="24583" name="Text Box 7">
              <a:extLst>
                <a:ext uri="{FF2B5EF4-FFF2-40B4-BE49-F238E27FC236}">
                  <a16:creationId xmlns:a16="http://schemas.microsoft.com/office/drawing/2014/main" id="{AA2368B3-9974-654E-A890-99CEC31B68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05</a:t>
              </a:r>
            </a:p>
          </p:txBody>
        </p:sp>
        <p:sp>
          <p:nvSpPr>
            <p:cNvPr id="24584" name="Line 8">
              <a:extLst>
                <a:ext uri="{FF2B5EF4-FFF2-40B4-BE49-F238E27FC236}">
                  <a16:creationId xmlns:a16="http://schemas.microsoft.com/office/drawing/2014/main" id="{5C366EF8-3661-2649-9431-F0A8BE94EF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4585" name="Group 9">
            <a:extLst>
              <a:ext uri="{FF2B5EF4-FFF2-40B4-BE49-F238E27FC236}">
                <a16:creationId xmlns:a16="http://schemas.microsoft.com/office/drawing/2014/main" id="{A5610764-5569-5240-93CC-005D7A8D21EA}"/>
              </a:ext>
            </a:extLst>
          </p:cNvPr>
          <p:cNvGrpSpPr>
            <a:grpSpLocks/>
          </p:cNvGrpSpPr>
          <p:nvPr/>
        </p:nvGrpSpPr>
        <p:grpSpPr bwMode="auto">
          <a:xfrm>
            <a:off x="1611313" y="4581525"/>
            <a:ext cx="692150" cy="654050"/>
            <a:chOff x="431" y="3022"/>
            <a:chExt cx="436" cy="412"/>
          </a:xfrm>
        </p:grpSpPr>
        <p:sp>
          <p:nvSpPr>
            <p:cNvPr id="24586" name="Text Box 10">
              <a:extLst>
                <a:ext uri="{FF2B5EF4-FFF2-40B4-BE49-F238E27FC236}">
                  <a16:creationId xmlns:a16="http://schemas.microsoft.com/office/drawing/2014/main" id="{929593BE-46CA-A24F-A2BA-7F31144C544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10</a:t>
              </a:r>
            </a:p>
          </p:txBody>
        </p:sp>
        <p:sp>
          <p:nvSpPr>
            <p:cNvPr id="24587" name="Line 11">
              <a:extLst>
                <a:ext uri="{FF2B5EF4-FFF2-40B4-BE49-F238E27FC236}">
                  <a16:creationId xmlns:a16="http://schemas.microsoft.com/office/drawing/2014/main" id="{959AF33A-D35C-B04E-82D3-56A1F85A53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4588" name="Group 12">
            <a:extLst>
              <a:ext uri="{FF2B5EF4-FFF2-40B4-BE49-F238E27FC236}">
                <a16:creationId xmlns:a16="http://schemas.microsoft.com/office/drawing/2014/main" id="{F0E11AF2-2767-7C41-BCAD-26E0BED83085}"/>
              </a:ext>
            </a:extLst>
          </p:cNvPr>
          <p:cNvGrpSpPr>
            <a:grpSpLocks/>
          </p:cNvGrpSpPr>
          <p:nvPr/>
        </p:nvGrpSpPr>
        <p:grpSpPr bwMode="auto">
          <a:xfrm>
            <a:off x="2474913" y="4581525"/>
            <a:ext cx="692150" cy="654050"/>
            <a:chOff x="431" y="3022"/>
            <a:chExt cx="436" cy="412"/>
          </a:xfrm>
        </p:grpSpPr>
        <p:sp>
          <p:nvSpPr>
            <p:cNvPr id="24589" name="Text Box 13">
              <a:extLst>
                <a:ext uri="{FF2B5EF4-FFF2-40B4-BE49-F238E27FC236}">
                  <a16:creationId xmlns:a16="http://schemas.microsoft.com/office/drawing/2014/main" id="{8A510825-365D-2F49-94D3-DC598E2C1C6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15</a:t>
              </a:r>
            </a:p>
          </p:txBody>
        </p:sp>
        <p:sp>
          <p:nvSpPr>
            <p:cNvPr id="24590" name="Line 14">
              <a:extLst>
                <a:ext uri="{FF2B5EF4-FFF2-40B4-BE49-F238E27FC236}">
                  <a16:creationId xmlns:a16="http://schemas.microsoft.com/office/drawing/2014/main" id="{C310C236-C83E-0642-A0E0-717CC11861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4591" name="Group 15">
            <a:extLst>
              <a:ext uri="{FF2B5EF4-FFF2-40B4-BE49-F238E27FC236}">
                <a16:creationId xmlns:a16="http://schemas.microsoft.com/office/drawing/2014/main" id="{A1EE0AF4-0415-D44C-83E0-89FBB291AD8A}"/>
              </a:ext>
            </a:extLst>
          </p:cNvPr>
          <p:cNvGrpSpPr>
            <a:grpSpLocks/>
          </p:cNvGrpSpPr>
          <p:nvPr/>
        </p:nvGrpSpPr>
        <p:grpSpPr bwMode="auto">
          <a:xfrm>
            <a:off x="3340100" y="4581525"/>
            <a:ext cx="692150" cy="654050"/>
            <a:chOff x="431" y="3022"/>
            <a:chExt cx="436" cy="412"/>
          </a:xfrm>
        </p:grpSpPr>
        <p:sp>
          <p:nvSpPr>
            <p:cNvPr id="24592" name="Text Box 16">
              <a:extLst>
                <a:ext uri="{FF2B5EF4-FFF2-40B4-BE49-F238E27FC236}">
                  <a16:creationId xmlns:a16="http://schemas.microsoft.com/office/drawing/2014/main" id="{284820E6-9401-544C-BF0F-2E7FC62A5F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20</a:t>
              </a:r>
            </a:p>
          </p:txBody>
        </p:sp>
        <p:sp>
          <p:nvSpPr>
            <p:cNvPr id="24593" name="Line 17">
              <a:extLst>
                <a:ext uri="{FF2B5EF4-FFF2-40B4-BE49-F238E27FC236}">
                  <a16:creationId xmlns:a16="http://schemas.microsoft.com/office/drawing/2014/main" id="{87FD64EC-6A88-254C-AD73-66A701C76D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4594" name="Group 18">
            <a:extLst>
              <a:ext uri="{FF2B5EF4-FFF2-40B4-BE49-F238E27FC236}">
                <a16:creationId xmlns:a16="http://schemas.microsoft.com/office/drawing/2014/main" id="{5536118F-ECED-B34C-9B6C-4F0BADB88296}"/>
              </a:ext>
            </a:extLst>
          </p:cNvPr>
          <p:cNvGrpSpPr>
            <a:grpSpLocks/>
          </p:cNvGrpSpPr>
          <p:nvPr/>
        </p:nvGrpSpPr>
        <p:grpSpPr bwMode="auto">
          <a:xfrm>
            <a:off x="4159250" y="4581525"/>
            <a:ext cx="692150" cy="654050"/>
            <a:chOff x="431" y="3022"/>
            <a:chExt cx="436" cy="412"/>
          </a:xfrm>
        </p:grpSpPr>
        <p:sp>
          <p:nvSpPr>
            <p:cNvPr id="24595" name="Text Box 19">
              <a:extLst>
                <a:ext uri="{FF2B5EF4-FFF2-40B4-BE49-F238E27FC236}">
                  <a16:creationId xmlns:a16="http://schemas.microsoft.com/office/drawing/2014/main" id="{3891230D-D71B-6641-83BB-776E9BAD30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25</a:t>
              </a:r>
            </a:p>
          </p:txBody>
        </p:sp>
        <p:sp>
          <p:nvSpPr>
            <p:cNvPr id="24596" name="Line 20">
              <a:extLst>
                <a:ext uri="{FF2B5EF4-FFF2-40B4-BE49-F238E27FC236}">
                  <a16:creationId xmlns:a16="http://schemas.microsoft.com/office/drawing/2014/main" id="{0AA0B759-01FD-6545-95D5-82D067B779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4597" name="Group 21">
            <a:extLst>
              <a:ext uri="{FF2B5EF4-FFF2-40B4-BE49-F238E27FC236}">
                <a16:creationId xmlns:a16="http://schemas.microsoft.com/office/drawing/2014/main" id="{0AB288ED-F5B4-8B4F-99CA-991CC9FDB551}"/>
              </a:ext>
            </a:extLst>
          </p:cNvPr>
          <p:cNvGrpSpPr>
            <a:grpSpLocks/>
          </p:cNvGrpSpPr>
          <p:nvPr/>
        </p:nvGrpSpPr>
        <p:grpSpPr bwMode="auto">
          <a:xfrm>
            <a:off x="5067300" y="4581525"/>
            <a:ext cx="692150" cy="654050"/>
            <a:chOff x="431" y="3022"/>
            <a:chExt cx="436" cy="412"/>
          </a:xfrm>
        </p:grpSpPr>
        <p:sp>
          <p:nvSpPr>
            <p:cNvPr id="24598" name="Text Box 22">
              <a:extLst>
                <a:ext uri="{FF2B5EF4-FFF2-40B4-BE49-F238E27FC236}">
                  <a16:creationId xmlns:a16="http://schemas.microsoft.com/office/drawing/2014/main" id="{029CF832-6622-D04B-BF5D-83F597F8721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30</a:t>
              </a:r>
            </a:p>
          </p:txBody>
        </p:sp>
        <p:sp>
          <p:nvSpPr>
            <p:cNvPr id="24599" name="Line 23">
              <a:extLst>
                <a:ext uri="{FF2B5EF4-FFF2-40B4-BE49-F238E27FC236}">
                  <a16:creationId xmlns:a16="http://schemas.microsoft.com/office/drawing/2014/main" id="{80E85377-7369-7B40-AAD9-7987D34AF7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4600" name="Group 24">
            <a:extLst>
              <a:ext uri="{FF2B5EF4-FFF2-40B4-BE49-F238E27FC236}">
                <a16:creationId xmlns:a16="http://schemas.microsoft.com/office/drawing/2014/main" id="{7B8A5912-C1B9-6648-8FBB-3CFF808FD7DC}"/>
              </a:ext>
            </a:extLst>
          </p:cNvPr>
          <p:cNvGrpSpPr>
            <a:grpSpLocks/>
          </p:cNvGrpSpPr>
          <p:nvPr/>
        </p:nvGrpSpPr>
        <p:grpSpPr bwMode="auto">
          <a:xfrm>
            <a:off x="8451850" y="4581525"/>
            <a:ext cx="692150" cy="654050"/>
            <a:chOff x="431" y="3022"/>
            <a:chExt cx="436" cy="412"/>
          </a:xfrm>
        </p:grpSpPr>
        <p:sp>
          <p:nvSpPr>
            <p:cNvPr id="24601" name="Text Box 25">
              <a:extLst>
                <a:ext uri="{FF2B5EF4-FFF2-40B4-BE49-F238E27FC236}">
                  <a16:creationId xmlns:a16="http://schemas.microsoft.com/office/drawing/2014/main" id="{AB2DD26B-0512-4348-A87E-7A448734E47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50</a:t>
              </a:r>
            </a:p>
          </p:txBody>
        </p:sp>
        <p:sp>
          <p:nvSpPr>
            <p:cNvPr id="24602" name="Line 26">
              <a:extLst>
                <a:ext uri="{FF2B5EF4-FFF2-40B4-BE49-F238E27FC236}">
                  <a16:creationId xmlns:a16="http://schemas.microsoft.com/office/drawing/2014/main" id="{41A1B37E-33DD-7940-89DA-D5DD08A3BD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4603" name="Group 27">
            <a:extLst>
              <a:ext uri="{FF2B5EF4-FFF2-40B4-BE49-F238E27FC236}">
                <a16:creationId xmlns:a16="http://schemas.microsoft.com/office/drawing/2014/main" id="{020E9892-6DA8-E74C-9D36-9122C3C3E5CC}"/>
              </a:ext>
            </a:extLst>
          </p:cNvPr>
          <p:cNvGrpSpPr>
            <a:grpSpLocks/>
          </p:cNvGrpSpPr>
          <p:nvPr/>
        </p:nvGrpSpPr>
        <p:grpSpPr bwMode="auto">
          <a:xfrm>
            <a:off x="6723063" y="4581525"/>
            <a:ext cx="692150" cy="654050"/>
            <a:chOff x="431" y="3022"/>
            <a:chExt cx="436" cy="412"/>
          </a:xfrm>
        </p:grpSpPr>
        <p:sp>
          <p:nvSpPr>
            <p:cNvPr id="24604" name="Text Box 28">
              <a:extLst>
                <a:ext uri="{FF2B5EF4-FFF2-40B4-BE49-F238E27FC236}">
                  <a16:creationId xmlns:a16="http://schemas.microsoft.com/office/drawing/2014/main" id="{A605426A-2312-1848-B8BB-6446F30348E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40</a:t>
              </a:r>
            </a:p>
          </p:txBody>
        </p:sp>
        <p:sp>
          <p:nvSpPr>
            <p:cNvPr id="24605" name="Line 29">
              <a:extLst>
                <a:ext uri="{FF2B5EF4-FFF2-40B4-BE49-F238E27FC236}">
                  <a16:creationId xmlns:a16="http://schemas.microsoft.com/office/drawing/2014/main" id="{8450C7BF-E0E7-5C47-95A9-4941F750D5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4606" name="Group 30">
            <a:extLst>
              <a:ext uri="{FF2B5EF4-FFF2-40B4-BE49-F238E27FC236}">
                <a16:creationId xmlns:a16="http://schemas.microsoft.com/office/drawing/2014/main" id="{A4F99C8B-B11E-CC48-956A-9414ACED8D88}"/>
              </a:ext>
            </a:extLst>
          </p:cNvPr>
          <p:cNvGrpSpPr>
            <a:grpSpLocks/>
          </p:cNvGrpSpPr>
          <p:nvPr/>
        </p:nvGrpSpPr>
        <p:grpSpPr bwMode="auto">
          <a:xfrm>
            <a:off x="7588250" y="4581525"/>
            <a:ext cx="692150" cy="654050"/>
            <a:chOff x="431" y="3022"/>
            <a:chExt cx="436" cy="412"/>
          </a:xfrm>
        </p:grpSpPr>
        <p:sp>
          <p:nvSpPr>
            <p:cNvPr id="24607" name="Text Box 31">
              <a:extLst>
                <a:ext uri="{FF2B5EF4-FFF2-40B4-BE49-F238E27FC236}">
                  <a16:creationId xmlns:a16="http://schemas.microsoft.com/office/drawing/2014/main" id="{E1AB2B50-50FE-9F44-9A31-EB10D1BA4F9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45</a:t>
              </a:r>
            </a:p>
          </p:txBody>
        </p:sp>
        <p:sp>
          <p:nvSpPr>
            <p:cNvPr id="24608" name="Line 32">
              <a:extLst>
                <a:ext uri="{FF2B5EF4-FFF2-40B4-BE49-F238E27FC236}">
                  <a16:creationId xmlns:a16="http://schemas.microsoft.com/office/drawing/2014/main" id="{90542C2B-3AF3-8C46-AF2D-2B0B91723E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4609" name="Group 33">
            <a:extLst>
              <a:ext uri="{FF2B5EF4-FFF2-40B4-BE49-F238E27FC236}">
                <a16:creationId xmlns:a16="http://schemas.microsoft.com/office/drawing/2014/main" id="{D25EAD9A-20E0-E64B-9C2F-59C1A4326EE7}"/>
              </a:ext>
            </a:extLst>
          </p:cNvPr>
          <p:cNvGrpSpPr>
            <a:grpSpLocks/>
          </p:cNvGrpSpPr>
          <p:nvPr/>
        </p:nvGrpSpPr>
        <p:grpSpPr bwMode="auto">
          <a:xfrm>
            <a:off x="5859463" y="4581525"/>
            <a:ext cx="692150" cy="654050"/>
            <a:chOff x="431" y="3022"/>
            <a:chExt cx="436" cy="412"/>
          </a:xfrm>
        </p:grpSpPr>
        <p:sp>
          <p:nvSpPr>
            <p:cNvPr id="24610" name="Text Box 34">
              <a:extLst>
                <a:ext uri="{FF2B5EF4-FFF2-40B4-BE49-F238E27FC236}">
                  <a16:creationId xmlns:a16="http://schemas.microsoft.com/office/drawing/2014/main" id="{65AF7DD0-59B8-3249-8DA4-B7B414B9834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35</a:t>
              </a:r>
            </a:p>
          </p:txBody>
        </p:sp>
        <p:sp>
          <p:nvSpPr>
            <p:cNvPr id="24611" name="Line 35">
              <a:extLst>
                <a:ext uri="{FF2B5EF4-FFF2-40B4-BE49-F238E27FC236}">
                  <a16:creationId xmlns:a16="http://schemas.microsoft.com/office/drawing/2014/main" id="{9C49A4C2-9BDC-2941-9ED7-B6B7F898BD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24612" name="Text Box 36">
            <a:extLst>
              <a:ext uri="{FF2B5EF4-FFF2-40B4-BE49-F238E27FC236}">
                <a16:creationId xmlns:a16="http://schemas.microsoft.com/office/drawing/2014/main" id="{EF7F8970-69C1-AF49-97F7-D8F452B74F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1775" y="928688"/>
            <a:ext cx="8572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altLang="de-DE"/>
              <a:t>in Mio.</a:t>
            </a:r>
          </a:p>
        </p:txBody>
      </p:sp>
      <p:sp>
        <p:nvSpPr>
          <p:cNvPr id="24613" name="Text Box 37">
            <a:extLst>
              <a:ext uri="{FF2B5EF4-FFF2-40B4-BE49-F238E27FC236}">
                <a16:creationId xmlns:a16="http://schemas.microsoft.com/office/drawing/2014/main" id="{514D4FE2-60EC-0640-A031-7F6CDED713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388" y="2565400"/>
            <a:ext cx="501650" cy="3667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altLang="de-DE"/>
              <a:t>1,0</a:t>
            </a:r>
          </a:p>
        </p:txBody>
      </p:sp>
      <p:sp>
        <p:nvSpPr>
          <p:cNvPr id="24614" name="Text Box 38">
            <a:extLst>
              <a:ext uri="{FF2B5EF4-FFF2-40B4-BE49-F238E27FC236}">
                <a16:creationId xmlns:a16="http://schemas.microsoft.com/office/drawing/2014/main" id="{FA35F5F8-4333-344A-8740-180A751DD1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388" y="1916113"/>
            <a:ext cx="628650" cy="3667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altLang="de-DE"/>
              <a:t>1,25</a:t>
            </a:r>
          </a:p>
        </p:txBody>
      </p:sp>
      <p:sp>
        <p:nvSpPr>
          <p:cNvPr id="24615" name="Text Box 39">
            <a:extLst>
              <a:ext uri="{FF2B5EF4-FFF2-40B4-BE49-F238E27FC236}">
                <a16:creationId xmlns:a16="http://schemas.microsoft.com/office/drawing/2014/main" id="{68737ABB-173D-6A4A-BB7E-74816196E1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388" y="1412875"/>
            <a:ext cx="501650" cy="3667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altLang="de-DE"/>
              <a:t>1,5</a:t>
            </a:r>
          </a:p>
        </p:txBody>
      </p:sp>
      <p:sp>
        <p:nvSpPr>
          <p:cNvPr id="24616" name="Text Box 40">
            <a:extLst>
              <a:ext uri="{FF2B5EF4-FFF2-40B4-BE49-F238E27FC236}">
                <a16:creationId xmlns:a16="http://schemas.microsoft.com/office/drawing/2014/main" id="{FD229C07-EA1C-774E-813D-885E5BAB0E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5288" y="5516563"/>
            <a:ext cx="833755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altLang="de-DE" b="1">
                <a:solidFill>
                  <a:srgbClr val="808080"/>
                </a:solidFill>
              </a:rPr>
              <a:t>Jahrgangsstärke Junge (20 - 25) und Alte (60 - 65)</a:t>
            </a:r>
          </a:p>
          <a:p>
            <a:r>
              <a:rPr lang="de-DE" altLang="de-DE">
                <a:solidFill>
                  <a:srgbClr val="808080"/>
                </a:solidFill>
              </a:rPr>
              <a:t>Quelle StBA 2004 – 10. koordinierte Bevölkerungsvorausberechnung, Variante 5</a:t>
            </a:r>
          </a:p>
        </p:txBody>
      </p:sp>
      <p:grpSp>
        <p:nvGrpSpPr>
          <p:cNvPr id="24617" name="Group 41">
            <a:extLst>
              <a:ext uri="{FF2B5EF4-FFF2-40B4-BE49-F238E27FC236}">
                <a16:creationId xmlns:a16="http://schemas.microsoft.com/office/drawing/2014/main" id="{38DA1486-1DCC-8246-A55C-DE985A66943A}"/>
              </a:ext>
            </a:extLst>
          </p:cNvPr>
          <p:cNvGrpSpPr>
            <a:grpSpLocks/>
          </p:cNvGrpSpPr>
          <p:nvPr/>
        </p:nvGrpSpPr>
        <p:grpSpPr bwMode="auto">
          <a:xfrm>
            <a:off x="3698875" y="2133600"/>
            <a:ext cx="936625" cy="1008063"/>
            <a:chOff x="2330" y="1344"/>
            <a:chExt cx="590" cy="635"/>
          </a:xfrm>
        </p:grpSpPr>
        <p:sp>
          <p:nvSpPr>
            <p:cNvPr id="24618" name="Line 42">
              <a:extLst>
                <a:ext uri="{FF2B5EF4-FFF2-40B4-BE49-F238E27FC236}">
                  <a16:creationId xmlns:a16="http://schemas.microsoft.com/office/drawing/2014/main" id="{50469B66-14EE-6B44-A565-09DE5A3ACD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6" y="1842"/>
              <a:ext cx="584" cy="137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4619" name="Line 43">
              <a:extLst>
                <a:ext uri="{FF2B5EF4-FFF2-40B4-BE49-F238E27FC236}">
                  <a16:creationId xmlns:a16="http://schemas.microsoft.com/office/drawing/2014/main" id="{DB4CAEE5-831B-AC47-8806-32EE354B7E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30" y="1344"/>
              <a:ext cx="545" cy="272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4620" name="Group 44">
            <a:extLst>
              <a:ext uri="{FF2B5EF4-FFF2-40B4-BE49-F238E27FC236}">
                <a16:creationId xmlns:a16="http://schemas.microsoft.com/office/drawing/2014/main" id="{CBAEA740-7D00-2E4F-A6F0-80CDCBC8B890}"/>
              </a:ext>
            </a:extLst>
          </p:cNvPr>
          <p:cNvGrpSpPr>
            <a:grpSpLocks/>
          </p:cNvGrpSpPr>
          <p:nvPr/>
        </p:nvGrpSpPr>
        <p:grpSpPr bwMode="auto">
          <a:xfrm>
            <a:off x="1250950" y="1628775"/>
            <a:ext cx="1454150" cy="1152525"/>
            <a:chOff x="788" y="1026"/>
            <a:chExt cx="916" cy="726"/>
          </a:xfrm>
        </p:grpSpPr>
        <p:sp>
          <p:nvSpPr>
            <p:cNvPr id="24621" name="Text Box 45">
              <a:extLst>
                <a:ext uri="{FF2B5EF4-FFF2-40B4-BE49-F238E27FC236}">
                  <a16:creationId xmlns:a16="http://schemas.microsoft.com/office/drawing/2014/main" id="{2EFB4713-D8C6-3B48-9FE1-EED9D2433DE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8" y="1026"/>
              <a:ext cx="916" cy="2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b="1">
                  <a:solidFill>
                    <a:srgbClr val="FF505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2007 – 2013</a:t>
              </a:r>
              <a:endParaRPr lang="de-DE" altLang="de-DE" b="1"/>
            </a:p>
          </p:txBody>
        </p:sp>
        <p:sp>
          <p:nvSpPr>
            <p:cNvPr id="24622" name="Line 46">
              <a:extLst>
                <a:ext uri="{FF2B5EF4-FFF2-40B4-BE49-F238E27FC236}">
                  <a16:creationId xmlns:a16="http://schemas.microsoft.com/office/drawing/2014/main" id="{078161E1-A69B-B947-BE79-7C797E70D5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42" y="1298"/>
              <a:ext cx="0" cy="318"/>
            </a:xfrm>
            <a:prstGeom prst="line">
              <a:avLst/>
            </a:prstGeom>
            <a:noFill/>
            <a:ln w="76200">
              <a:solidFill>
                <a:srgbClr val="FF505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4623" name="Line 47">
              <a:extLst>
                <a:ext uri="{FF2B5EF4-FFF2-40B4-BE49-F238E27FC236}">
                  <a16:creationId xmlns:a16="http://schemas.microsoft.com/office/drawing/2014/main" id="{855D702E-F845-0E42-962A-E1A5449E125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79" y="1661"/>
              <a:ext cx="317" cy="91"/>
            </a:xfrm>
            <a:prstGeom prst="line">
              <a:avLst/>
            </a:prstGeom>
            <a:noFill/>
            <a:ln w="38100">
              <a:solidFill>
                <a:srgbClr val="FF505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4624" name="Line 48">
              <a:extLst>
                <a:ext uri="{FF2B5EF4-FFF2-40B4-BE49-F238E27FC236}">
                  <a16:creationId xmlns:a16="http://schemas.microsoft.com/office/drawing/2014/main" id="{303D572C-1EED-2144-9BEE-6DF2DF6701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6" y="1661"/>
              <a:ext cx="136" cy="45"/>
            </a:xfrm>
            <a:prstGeom prst="line">
              <a:avLst/>
            </a:prstGeom>
            <a:noFill/>
            <a:ln w="38100">
              <a:solidFill>
                <a:srgbClr val="FF505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4625" name="Group 49">
            <a:extLst>
              <a:ext uri="{FF2B5EF4-FFF2-40B4-BE49-F238E27FC236}">
                <a16:creationId xmlns:a16="http://schemas.microsoft.com/office/drawing/2014/main" id="{197A0B77-8AFA-A044-AC80-8785D7EB072B}"/>
              </a:ext>
            </a:extLst>
          </p:cNvPr>
          <p:cNvGrpSpPr>
            <a:grpSpLocks/>
          </p:cNvGrpSpPr>
          <p:nvPr/>
        </p:nvGrpSpPr>
        <p:grpSpPr bwMode="auto">
          <a:xfrm>
            <a:off x="3563938" y="1196975"/>
            <a:ext cx="1873250" cy="1223963"/>
            <a:chOff x="2245" y="754"/>
            <a:chExt cx="1180" cy="771"/>
          </a:xfrm>
        </p:grpSpPr>
        <p:sp>
          <p:nvSpPr>
            <p:cNvPr id="24626" name="Oval 50">
              <a:extLst>
                <a:ext uri="{FF2B5EF4-FFF2-40B4-BE49-F238E27FC236}">
                  <a16:creationId xmlns:a16="http://schemas.microsoft.com/office/drawing/2014/main" id="{73A20A7A-095D-B440-B05C-C3B76807D3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45" y="1026"/>
              <a:ext cx="1180" cy="499"/>
            </a:xfrm>
            <a:prstGeom prst="ellipse">
              <a:avLst/>
            </a:prstGeom>
            <a:noFill/>
            <a:ln w="28575">
              <a:solidFill>
                <a:srgbClr val="3E35F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4627" name="Text Box 51">
              <a:extLst>
                <a:ext uri="{FF2B5EF4-FFF2-40B4-BE49-F238E27FC236}">
                  <a16:creationId xmlns:a16="http://schemas.microsoft.com/office/drawing/2014/main" id="{753CD41E-CCB4-974E-9D0C-316CD67B8B8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36" y="754"/>
              <a:ext cx="998" cy="2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r>
                <a:rPr lang="de-DE" altLang="de-DE" b="1">
                  <a:solidFill>
                    <a:srgbClr val="3366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2020 – 2030</a:t>
              </a:r>
              <a:endParaRPr lang="de-DE" altLang="de-DE" b="1">
                <a:solidFill>
                  <a:srgbClr val="3366FF"/>
                </a:solidFill>
              </a:endParaRPr>
            </a:p>
          </p:txBody>
        </p:sp>
      </p:grpSp>
      <p:sp>
        <p:nvSpPr>
          <p:cNvPr id="24628" name="Rectangle 52">
            <a:extLst>
              <a:ext uri="{FF2B5EF4-FFF2-40B4-BE49-F238E27FC236}">
                <a16:creationId xmlns:a16="http://schemas.microsoft.com/office/drawing/2014/main" id="{819A5F59-DF2A-A740-98B5-36E68431806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22263" y="44450"/>
            <a:ext cx="7202487" cy="720725"/>
          </a:xfrm>
        </p:spPr>
        <p:txBody>
          <a:bodyPr/>
          <a:lstStyle/>
          <a:p>
            <a:r>
              <a:rPr lang="de-DE" altLang="de-DE" b="1"/>
              <a:t>Wir werden weniger und älter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46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46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246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246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ußzeilenplatzhalter 1">
            <a:extLst>
              <a:ext uri="{FF2B5EF4-FFF2-40B4-BE49-F238E27FC236}">
                <a16:creationId xmlns:a16="http://schemas.microsoft.com/office/drawing/2014/main" id="{6090AA52-D332-DE4F-843B-070D31BC5FB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18" name="Foliennummernplatzhalter 2">
            <a:extLst>
              <a:ext uri="{FF2B5EF4-FFF2-40B4-BE49-F238E27FC236}">
                <a16:creationId xmlns:a16="http://schemas.microsoft.com/office/drawing/2014/main" id="{07900EF3-2446-6C4F-8BB3-9397499C3DA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ABEC8F-D5E2-2A4D-BC15-A0750C13D150}" type="slidenum">
              <a:rPr lang="de-DE" altLang="de-DE"/>
              <a:pPr/>
              <a:t>2</a:t>
            </a:fld>
            <a:endParaRPr lang="de-DE" altLang="de-DE"/>
          </a:p>
        </p:txBody>
      </p:sp>
      <p:sp>
        <p:nvSpPr>
          <p:cNvPr id="38914" name="Rectangle 2">
            <a:extLst>
              <a:ext uri="{FF2B5EF4-FFF2-40B4-BE49-F238E27FC236}">
                <a16:creationId xmlns:a16="http://schemas.microsoft.com/office/drawing/2014/main" id="{EF82508D-2876-EE46-BD1C-6CED21C4A2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4425" y="1330325"/>
            <a:ext cx="1841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endParaRPr lang="en-US" altLang="de-DE" sz="1600">
              <a:solidFill>
                <a:srgbClr val="4C4C4C"/>
              </a:solidFill>
            </a:endParaRPr>
          </a:p>
        </p:txBody>
      </p:sp>
      <p:sp>
        <p:nvSpPr>
          <p:cNvPr id="38915" name="Rectangle 3">
            <a:extLst>
              <a:ext uri="{FF2B5EF4-FFF2-40B4-BE49-F238E27FC236}">
                <a16:creationId xmlns:a16="http://schemas.microsoft.com/office/drawing/2014/main" id="{5C92A87A-00AD-A346-BDDC-E8C5836FB1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850" y="260350"/>
            <a:ext cx="7200900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1pPr>
            <a:lvl2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2pPr>
            <a:lvl3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3pPr>
            <a:lvl4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4pPr>
            <a:lvl5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3600">
                <a:solidFill>
                  <a:srgbClr val="F78701"/>
                </a:solidFill>
              </a:rPr>
              <a:t>Aktionsrat Bildung</a:t>
            </a:r>
            <a:endParaRPr lang="de-DE" altLang="de-DE" sz="3600"/>
          </a:p>
        </p:txBody>
      </p:sp>
      <p:sp>
        <p:nvSpPr>
          <p:cNvPr id="38917" name="Rectangle 5">
            <a:extLst>
              <a:ext uri="{FF2B5EF4-FFF2-40B4-BE49-F238E27FC236}">
                <a16:creationId xmlns:a16="http://schemas.microsoft.com/office/drawing/2014/main" id="{BF1C19B7-4151-A843-A512-7DE70244684A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54013" y="1700213"/>
            <a:ext cx="4094162" cy="2235200"/>
          </a:xfrm>
          <a:prstGeom prst="rect">
            <a:avLst/>
          </a:prstGeom>
          <a:gradFill rotWithShape="1">
            <a:gsLst>
              <a:gs pos="0">
                <a:srgbClr val="EAEAEA">
                  <a:gamma/>
                  <a:tint val="0"/>
                  <a:invGamma/>
                </a:srgbClr>
              </a:gs>
              <a:gs pos="100000">
                <a:srgbClr val="EAEAEA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3560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 noProof="1"/>
          </a:p>
        </p:txBody>
      </p:sp>
      <p:sp>
        <p:nvSpPr>
          <p:cNvPr id="38918" name="Rectangle 6">
            <a:extLst>
              <a:ext uri="{FF2B5EF4-FFF2-40B4-BE49-F238E27FC236}">
                <a16:creationId xmlns:a16="http://schemas.microsoft.com/office/drawing/2014/main" id="{73F8CD56-3D06-C64D-A925-0969219A7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850" y="1773238"/>
            <a:ext cx="309562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de-DE" altLang="de-DE" sz="1600">
              <a:solidFill>
                <a:srgbClr val="000000"/>
              </a:solidFill>
            </a:endParaRPr>
          </a:p>
        </p:txBody>
      </p:sp>
      <p:sp>
        <p:nvSpPr>
          <p:cNvPr id="38919" name="Text Box 7">
            <a:extLst>
              <a:ext uri="{FF2B5EF4-FFF2-40B4-BE49-F238E27FC236}">
                <a16:creationId xmlns:a16="http://schemas.microsoft.com/office/drawing/2014/main" id="{81AF3C8B-EA0E-A54C-80F8-BA53D5E541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3850" y="1125538"/>
            <a:ext cx="3960813" cy="375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5607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35607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268288" indent="-2682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Font typeface="Wingdings" pitchFamily="2" charset="2"/>
              <a:buNone/>
            </a:pPr>
            <a:r>
              <a:rPr lang="de-DE" altLang="de-DE" sz="1600" b="1">
                <a:solidFill>
                  <a:srgbClr val="000000"/>
                </a:solidFill>
              </a:rPr>
              <a:t>Initiative: </a:t>
            </a:r>
            <a:r>
              <a:rPr lang="de-DE" altLang="de-DE" sz="1600"/>
              <a:t>vbw – Vereinigung der Bayerischen Wirtschaft: Präsident, Randolf Rodenstock. </a:t>
            </a:r>
            <a:br>
              <a:rPr lang="de-DE" altLang="de-DE" sz="1600"/>
            </a:br>
            <a:endParaRPr lang="de-DE" altLang="de-DE" sz="1600"/>
          </a:p>
          <a:p>
            <a:pPr>
              <a:buFont typeface="Wingdings" pitchFamily="2" charset="2"/>
              <a:buChar char="§"/>
            </a:pPr>
            <a:r>
              <a:rPr lang="de-DE" altLang="de-DE" sz="1600" b="1">
                <a:solidFill>
                  <a:srgbClr val="000000"/>
                </a:solidFill>
              </a:rPr>
              <a:t>Expertengremium: </a:t>
            </a:r>
            <a:br>
              <a:rPr lang="de-DE" altLang="de-DE" sz="1600" b="1">
                <a:solidFill>
                  <a:srgbClr val="000000"/>
                </a:solidFill>
              </a:rPr>
            </a:br>
            <a:r>
              <a:rPr lang="de-DE" altLang="de-DE" sz="1600">
                <a:solidFill>
                  <a:srgbClr val="000000"/>
                </a:solidFill>
              </a:rPr>
              <a:t>politisch unabhängig</a:t>
            </a:r>
            <a:br>
              <a:rPr lang="de-DE" altLang="de-DE" sz="1600">
                <a:solidFill>
                  <a:srgbClr val="000000"/>
                </a:solidFill>
              </a:rPr>
            </a:br>
            <a:endParaRPr lang="de-DE" altLang="de-DE" sz="1600">
              <a:solidFill>
                <a:srgbClr val="000000"/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de-DE" altLang="de-DE" sz="1600" b="1"/>
              <a:t>Mitglieder:</a:t>
            </a:r>
            <a:r>
              <a:rPr lang="de-DE" altLang="de-DE" sz="1600"/>
              <a:t> </a:t>
            </a:r>
            <a:br>
              <a:rPr lang="de-DE" altLang="de-DE" sz="1600"/>
            </a:br>
            <a:r>
              <a:rPr lang="de-DE" altLang="de-DE" sz="1600"/>
              <a:t>Prof. Dr. Blossfeld, </a:t>
            </a:r>
            <a:br>
              <a:rPr lang="de-DE" altLang="de-DE" sz="1600"/>
            </a:br>
            <a:r>
              <a:rPr lang="de-DE" altLang="de-DE" sz="1600"/>
              <a:t>Prof. Dr. Bos, </a:t>
            </a:r>
            <a:br>
              <a:rPr lang="de-DE" altLang="de-DE" sz="1600"/>
            </a:br>
            <a:r>
              <a:rPr lang="de-DE" altLang="de-DE" sz="1600"/>
              <a:t>Prof. Dr. Lenzen (Vorsitzender), </a:t>
            </a:r>
            <a:br>
              <a:rPr lang="de-DE" altLang="de-DE" sz="1600"/>
            </a:br>
            <a:r>
              <a:rPr lang="de-DE" altLang="de-DE" sz="1600"/>
              <a:t>Prof. Dr. Müller-Böling, </a:t>
            </a:r>
            <a:br>
              <a:rPr lang="de-DE" altLang="de-DE" sz="1600"/>
            </a:br>
            <a:r>
              <a:rPr lang="de-DE" altLang="de-DE" sz="1600"/>
              <a:t>Prof. Dr. Oelkers (2005/2006), </a:t>
            </a:r>
            <a:br>
              <a:rPr lang="de-DE" altLang="de-DE" sz="1600"/>
            </a:br>
            <a:r>
              <a:rPr lang="de-DE" altLang="de-DE" sz="1600"/>
              <a:t>Prof. Dr. Prenzel, </a:t>
            </a:r>
            <a:br>
              <a:rPr lang="de-DE" altLang="de-DE" sz="1600"/>
            </a:br>
            <a:r>
              <a:rPr lang="de-DE" altLang="de-DE" sz="1600"/>
              <a:t>Prof. Dr. Wößmann</a:t>
            </a:r>
            <a:endParaRPr lang="de-DE" altLang="de-DE" sz="1600" noProof="1"/>
          </a:p>
        </p:txBody>
      </p:sp>
      <p:grpSp>
        <p:nvGrpSpPr>
          <p:cNvPr id="38920" name="Group 8">
            <a:extLst>
              <a:ext uri="{FF2B5EF4-FFF2-40B4-BE49-F238E27FC236}">
                <a16:creationId xmlns:a16="http://schemas.microsoft.com/office/drawing/2014/main" id="{35D60728-D08F-214C-BDE7-B9E3790F8F82}"/>
              </a:ext>
            </a:extLst>
          </p:cNvPr>
          <p:cNvGrpSpPr>
            <a:grpSpLocks/>
          </p:cNvGrpSpPr>
          <p:nvPr/>
        </p:nvGrpSpPr>
        <p:grpSpPr bwMode="auto">
          <a:xfrm>
            <a:off x="4932363" y="2060575"/>
            <a:ext cx="3960812" cy="3744913"/>
            <a:chOff x="1513" y="1187"/>
            <a:chExt cx="2720" cy="2720"/>
          </a:xfrm>
        </p:grpSpPr>
        <p:sp>
          <p:nvSpPr>
            <p:cNvPr id="38921" name="Freeform 9">
              <a:extLst>
                <a:ext uri="{FF2B5EF4-FFF2-40B4-BE49-F238E27FC236}">
                  <a16:creationId xmlns:a16="http://schemas.microsoft.com/office/drawing/2014/main" id="{5DFEBC3E-BBBE-0B4E-AB64-46BF5263F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0" y="1187"/>
              <a:ext cx="2073" cy="1489"/>
            </a:xfrm>
            <a:custGeom>
              <a:avLst/>
              <a:gdLst>
                <a:gd name="T0" fmla="*/ 1594 w 2397"/>
                <a:gd name="T1" fmla="*/ 1591 h 1721"/>
                <a:gd name="T2" fmla="*/ 1565 w 2397"/>
                <a:gd name="T3" fmla="*/ 1623 h 1721"/>
                <a:gd name="T4" fmla="*/ 1563 w 2397"/>
                <a:gd name="T5" fmla="*/ 1685 h 1721"/>
                <a:gd name="T6" fmla="*/ 1608 w 2397"/>
                <a:gd name="T7" fmla="*/ 1721 h 1721"/>
                <a:gd name="T8" fmla="*/ 1622 w 2397"/>
                <a:gd name="T9" fmla="*/ 1720 h 1721"/>
                <a:gd name="T10" fmla="*/ 1671 w 2397"/>
                <a:gd name="T11" fmla="*/ 1672 h 1721"/>
                <a:gd name="T12" fmla="*/ 1665 w 2397"/>
                <a:gd name="T13" fmla="*/ 1619 h 1721"/>
                <a:gd name="T14" fmla="*/ 1645 w 2397"/>
                <a:gd name="T15" fmla="*/ 1588 h 1721"/>
                <a:gd name="T16" fmla="*/ 1658 w 2397"/>
                <a:gd name="T17" fmla="*/ 1568 h 1721"/>
                <a:gd name="T18" fmla="*/ 2145 w 2397"/>
                <a:gd name="T19" fmla="*/ 1561 h 1721"/>
                <a:gd name="T20" fmla="*/ 2155 w 2397"/>
                <a:gd name="T21" fmla="*/ 1534 h 1721"/>
                <a:gd name="T22" fmla="*/ 2129 w 2397"/>
                <a:gd name="T23" fmla="*/ 1505 h 1721"/>
                <a:gd name="T24" fmla="*/ 2125 w 2397"/>
                <a:gd name="T25" fmla="*/ 1448 h 1721"/>
                <a:gd name="T26" fmla="*/ 2176 w 2397"/>
                <a:gd name="T27" fmla="*/ 1404 h 1721"/>
                <a:gd name="T28" fmla="*/ 2177 w 2397"/>
                <a:gd name="T29" fmla="*/ 1404 h 1721"/>
                <a:gd name="T30" fmla="*/ 2231 w 2397"/>
                <a:gd name="T31" fmla="*/ 1445 h 1721"/>
                <a:gd name="T32" fmla="*/ 2230 w 2397"/>
                <a:gd name="T33" fmla="*/ 1502 h 1721"/>
                <a:gd name="T34" fmla="*/ 2205 w 2397"/>
                <a:gd name="T35" fmla="*/ 1534 h 1721"/>
                <a:gd name="T36" fmla="*/ 2215 w 2397"/>
                <a:gd name="T37" fmla="*/ 1559 h 1721"/>
                <a:gd name="T38" fmla="*/ 2395 w 2397"/>
                <a:gd name="T39" fmla="*/ 1486 h 1721"/>
                <a:gd name="T40" fmla="*/ 2300 w 2397"/>
                <a:gd name="T41" fmla="*/ 1030 h 1721"/>
                <a:gd name="T42" fmla="*/ 2084 w 2397"/>
                <a:gd name="T43" fmla="*/ 631 h 1721"/>
                <a:gd name="T44" fmla="*/ 1765 w 2397"/>
                <a:gd name="T45" fmla="*/ 312 h 1721"/>
                <a:gd name="T46" fmla="*/ 1366 w 2397"/>
                <a:gd name="T47" fmla="*/ 95 h 1721"/>
                <a:gd name="T48" fmla="*/ 908 w 2397"/>
                <a:gd name="T49" fmla="*/ 2 h 1721"/>
                <a:gd name="T50" fmla="*/ 563 w 2397"/>
                <a:gd name="T51" fmla="*/ 22 h 1721"/>
                <a:gd name="T52" fmla="*/ 263 w 2397"/>
                <a:gd name="T53" fmla="*/ 106 h 1721"/>
                <a:gd name="T54" fmla="*/ 123 w 2397"/>
                <a:gd name="T55" fmla="*/ 370 h 1721"/>
                <a:gd name="T56" fmla="*/ 120 w 2397"/>
                <a:gd name="T57" fmla="*/ 385 h 1721"/>
                <a:gd name="T58" fmla="*/ 95 w 2397"/>
                <a:gd name="T59" fmla="*/ 395 h 1721"/>
                <a:gd name="T60" fmla="*/ 49 w 2397"/>
                <a:gd name="T61" fmla="*/ 394 h 1721"/>
                <a:gd name="T62" fmla="*/ 3 w 2397"/>
                <a:gd name="T63" fmla="*/ 439 h 1721"/>
                <a:gd name="T64" fmla="*/ 6 w 2397"/>
                <a:gd name="T65" fmla="*/ 486 h 1721"/>
                <a:gd name="T66" fmla="*/ 23 w 2397"/>
                <a:gd name="T67" fmla="*/ 502 h 1721"/>
                <a:gd name="T68" fmla="*/ 95 w 2397"/>
                <a:gd name="T69" fmla="*/ 499 h 1721"/>
                <a:gd name="T70" fmla="*/ 124 w 2397"/>
                <a:gd name="T71" fmla="*/ 462 h 1721"/>
                <a:gd name="T72" fmla="*/ 137 w 2397"/>
                <a:gd name="T73" fmla="*/ 433 h 1721"/>
                <a:gd name="T74" fmla="*/ 159 w 2397"/>
                <a:gd name="T75" fmla="*/ 433 h 1721"/>
                <a:gd name="T76" fmla="*/ 428 w 2397"/>
                <a:gd name="T77" fmla="*/ 857 h 1721"/>
                <a:gd name="T78" fmla="*/ 444 w 2397"/>
                <a:gd name="T79" fmla="*/ 825 h 1721"/>
                <a:gd name="T80" fmla="*/ 485 w 2397"/>
                <a:gd name="T81" fmla="*/ 793 h 1721"/>
                <a:gd name="T82" fmla="*/ 552 w 2397"/>
                <a:gd name="T83" fmla="*/ 812 h 1721"/>
                <a:gd name="T84" fmla="*/ 560 w 2397"/>
                <a:gd name="T85" fmla="*/ 822 h 1721"/>
                <a:gd name="T86" fmla="*/ 552 w 2397"/>
                <a:gd name="T87" fmla="*/ 879 h 1721"/>
                <a:gd name="T88" fmla="*/ 498 w 2397"/>
                <a:gd name="T89" fmla="*/ 908 h 1721"/>
                <a:gd name="T90" fmla="*/ 456 w 2397"/>
                <a:gd name="T91" fmla="*/ 900 h 1721"/>
                <a:gd name="T92" fmla="*/ 509 w 2397"/>
                <a:gd name="T93" fmla="*/ 1039 h 1721"/>
                <a:gd name="T94" fmla="*/ 741 w 2397"/>
                <a:gd name="T95" fmla="*/ 957 h 1721"/>
                <a:gd name="T96" fmla="*/ 890 w 2397"/>
                <a:gd name="T97" fmla="*/ 954 h 1721"/>
                <a:gd name="T98" fmla="*/ 1067 w 2397"/>
                <a:gd name="T99" fmla="*/ 999 h 1721"/>
                <a:gd name="T100" fmla="*/ 1219 w 2397"/>
                <a:gd name="T101" fmla="*/ 1091 h 1721"/>
                <a:gd name="T102" fmla="*/ 1339 w 2397"/>
                <a:gd name="T103" fmla="*/ 1223 h 1721"/>
                <a:gd name="T104" fmla="*/ 1418 w 2397"/>
                <a:gd name="T105" fmla="*/ 1384 h 1721"/>
                <a:gd name="T106" fmla="*/ 1448 w 2397"/>
                <a:gd name="T107" fmla="*/ 1566 h 1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7" h="1721">
                  <a:moveTo>
                    <a:pt x="1594" y="1566"/>
                  </a:moveTo>
                  <a:lnTo>
                    <a:pt x="1597" y="1575"/>
                  </a:lnTo>
                  <a:lnTo>
                    <a:pt x="1598" y="1580"/>
                  </a:lnTo>
                  <a:lnTo>
                    <a:pt x="1598" y="1584"/>
                  </a:lnTo>
                  <a:lnTo>
                    <a:pt x="1597" y="1588"/>
                  </a:lnTo>
                  <a:lnTo>
                    <a:pt x="1594" y="1591"/>
                  </a:lnTo>
                  <a:lnTo>
                    <a:pt x="1589" y="1596"/>
                  </a:lnTo>
                  <a:lnTo>
                    <a:pt x="1584" y="1600"/>
                  </a:lnTo>
                  <a:lnTo>
                    <a:pt x="1578" y="1604"/>
                  </a:lnTo>
                  <a:lnTo>
                    <a:pt x="1573" y="1610"/>
                  </a:lnTo>
                  <a:lnTo>
                    <a:pt x="1569" y="1616"/>
                  </a:lnTo>
                  <a:lnTo>
                    <a:pt x="1565" y="1623"/>
                  </a:lnTo>
                  <a:lnTo>
                    <a:pt x="1562" y="1631"/>
                  </a:lnTo>
                  <a:lnTo>
                    <a:pt x="1559" y="1640"/>
                  </a:lnTo>
                  <a:lnTo>
                    <a:pt x="1559" y="1647"/>
                  </a:lnTo>
                  <a:lnTo>
                    <a:pt x="1557" y="1661"/>
                  </a:lnTo>
                  <a:lnTo>
                    <a:pt x="1560" y="1673"/>
                  </a:lnTo>
                  <a:lnTo>
                    <a:pt x="1563" y="1685"/>
                  </a:lnTo>
                  <a:lnTo>
                    <a:pt x="1570" y="1697"/>
                  </a:lnTo>
                  <a:lnTo>
                    <a:pt x="1578" y="1705"/>
                  </a:lnTo>
                  <a:lnTo>
                    <a:pt x="1586" y="1713"/>
                  </a:lnTo>
                  <a:lnTo>
                    <a:pt x="1597" y="1718"/>
                  </a:lnTo>
                  <a:lnTo>
                    <a:pt x="1608" y="1721"/>
                  </a:lnTo>
                  <a:lnTo>
                    <a:pt x="1610" y="1721"/>
                  </a:lnTo>
                  <a:lnTo>
                    <a:pt x="1622" y="1720"/>
                  </a:lnTo>
                  <a:lnTo>
                    <a:pt x="1633" y="1717"/>
                  </a:lnTo>
                  <a:lnTo>
                    <a:pt x="1644" y="1711"/>
                  </a:lnTo>
                  <a:lnTo>
                    <a:pt x="1652" y="1704"/>
                  </a:lnTo>
                  <a:lnTo>
                    <a:pt x="1661" y="1694"/>
                  </a:lnTo>
                  <a:lnTo>
                    <a:pt x="1667" y="1683"/>
                  </a:lnTo>
                  <a:lnTo>
                    <a:pt x="1671" y="1672"/>
                  </a:lnTo>
                  <a:lnTo>
                    <a:pt x="1673" y="1657"/>
                  </a:lnTo>
                  <a:lnTo>
                    <a:pt x="1673" y="1650"/>
                  </a:lnTo>
                  <a:lnTo>
                    <a:pt x="1673" y="1641"/>
                  </a:lnTo>
                  <a:lnTo>
                    <a:pt x="1671" y="1634"/>
                  </a:lnTo>
                  <a:lnTo>
                    <a:pt x="1668" y="1626"/>
                  </a:lnTo>
                  <a:lnTo>
                    <a:pt x="1665" y="1619"/>
                  </a:lnTo>
                  <a:lnTo>
                    <a:pt x="1661" y="1612"/>
                  </a:lnTo>
                  <a:lnTo>
                    <a:pt x="1657" y="1606"/>
                  </a:lnTo>
                  <a:lnTo>
                    <a:pt x="1651" y="1602"/>
                  </a:lnTo>
                  <a:lnTo>
                    <a:pt x="1648" y="1597"/>
                  </a:lnTo>
                  <a:lnTo>
                    <a:pt x="1646" y="1593"/>
                  </a:lnTo>
                  <a:lnTo>
                    <a:pt x="1645" y="1588"/>
                  </a:lnTo>
                  <a:lnTo>
                    <a:pt x="1645" y="1584"/>
                  </a:lnTo>
                  <a:lnTo>
                    <a:pt x="1646" y="1581"/>
                  </a:lnTo>
                  <a:lnTo>
                    <a:pt x="1649" y="1575"/>
                  </a:lnTo>
                  <a:lnTo>
                    <a:pt x="1654" y="1571"/>
                  </a:lnTo>
                  <a:lnTo>
                    <a:pt x="1658" y="1568"/>
                  </a:lnTo>
                  <a:lnTo>
                    <a:pt x="1658" y="1566"/>
                  </a:lnTo>
                  <a:lnTo>
                    <a:pt x="1888" y="1566"/>
                  </a:lnTo>
                  <a:lnTo>
                    <a:pt x="1968" y="1566"/>
                  </a:lnTo>
                  <a:lnTo>
                    <a:pt x="2147" y="1566"/>
                  </a:lnTo>
                  <a:lnTo>
                    <a:pt x="2147" y="1563"/>
                  </a:lnTo>
                  <a:lnTo>
                    <a:pt x="2145" y="1561"/>
                  </a:lnTo>
                  <a:lnTo>
                    <a:pt x="2151" y="1558"/>
                  </a:lnTo>
                  <a:lnTo>
                    <a:pt x="2154" y="1553"/>
                  </a:lnTo>
                  <a:lnTo>
                    <a:pt x="2155" y="1547"/>
                  </a:lnTo>
                  <a:lnTo>
                    <a:pt x="2157" y="1543"/>
                  </a:lnTo>
                  <a:lnTo>
                    <a:pt x="2157" y="1539"/>
                  </a:lnTo>
                  <a:lnTo>
                    <a:pt x="2155" y="1534"/>
                  </a:lnTo>
                  <a:lnTo>
                    <a:pt x="2152" y="1531"/>
                  </a:lnTo>
                  <a:lnTo>
                    <a:pt x="2150" y="1527"/>
                  </a:lnTo>
                  <a:lnTo>
                    <a:pt x="2144" y="1523"/>
                  </a:lnTo>
                  <a:lnTo>
                    <a:pt x="2138" y="1517"/>
                  </a:lnTo>
                  <a:lnTo>
                    <a:pt x="2133" y="1511"/>
                  </a:lnTo>
                  <a:lnTo>
                    <a:pt x="2129" y="1505"/>
                  </a:lnTo>
                  <a:lnTo>
                    <a:pt x="2126" y="1498"/>
                  </a:lnTo>
                  <a:lnTo>
                    <a:pt x="2123" y="1490"/>
                  </a:lnTo>
                  <a:lnTo>
                    <a:pt x="2122" y="1482"/>
                  </a:lnTo>
                  <a:lnTo>
                    <a:pt x="2120" y="1473"/>
                  </a:lnTo>
                  <a:lnTo>
                    <a:pt x="2122" y="1460"/>
                  </a:lnTo>
                  <a:lnTo>
                    <a:pt x="2125" y="1448"/>
                  </a:lnTo>
                  <a:lnTo>
                    <a:pt x="2129" y="1436"/>
                  </a:lnTo>
                  <a:lnTo>
                    <a:pt x="2136" y="1426"/>
                  </a:lnTo>
                  <a:lnTo>
                    <a:pt x="2144" y="1417"/>
                  </a:lnTo>
                  <a:lnTo>
                    <a:pt x="2154" y="1410"/>
                  </a:lnTo>
                  <a:lnTo>
                    <a:pt x="2164" y="1406"/>
                  </a:lnTo>
                  <a:lnTo>
                    <a:pt x="2176" y="1404"/>
                  </a:lnTo>
                  <a:lnTo>
                    <a:pt x="2177" y="1404"/>
                  </a:lnTo>
                  <a:lnTo>
                    <a:pt x="2189" y="1406"/>
                  </a:lnTo>
                  <a:lnTo>
                    <a:pt x="2201" y="1408"/>
                  </a:lnTo>
                  <a:lnTo>
                    <a:pt x="2211" y="1416"/>
                  </a:lnTo>
                  <a:lnTo>
                    <a:pt x="2218" y="1423"/>
                  </a:lnTo>
                  <a:lnTo>
                    <a:pt x="2226" y="1433"/>
                  </a:lnTo>
                  <a:lnTo>
                    <a:pt x="2231" y="1445"/>
                  </a:lnTo>
                  <a:lnTo>
                    <a:pt x="2234" y="1457"/>
                  </a:lnTo>
                  <a:lnTo>
                    <a:pt x="2236" y="1471"/>
                  </a:lnTo>
                  <a:lnTo>
                    <a:pt x="2236" y="1479"/>
                  </a:lnTo>
                  <a:lnTo>
                    <a:pt x="2234" y="1487"/>
                  </a:lnTo>
                  <a:lnTo>
                    <a:pt x="2233" y="1495"/>
                  </a:lnTo>
                  <a:lnTo>
                    <a:pt x="2230" y="1502"/>
                  </a:lnTo>
                  <a:lnTo>
                    <a:pt x="2226" y="1509"/>
                  </a:lnTo>
                  <a:lnTo>
                    <a:pt x="2221" y="1515"/>
                  </a:lnTo>
                  <a:lnTo>
                    <a:pt x="2217" y="1521"/>
                  </a:lnTo>
                  <a:lnTo>
                    <a:pt x="2211" y="1525"/>
                  </a:lnTo>
                  <a:lnTo>
                    <a:pt x="2208" y="1530"/>
                  </a:lnTo>
                  <a:lnTo>
                    <a:pt x="2205" y="1534"/>
                  </a:lnTo>
                  <a:lnTo>
                    <a:pt x="2204" y="1537"/>
                  </a:lnTo>
                  <a:lnTo>
                    <a:pt x="2204" y="1542"/>
                  </a:lnTo>
                  <a:lnTo>
                    <a:pt x="2205" y="1546"/>
                  </a:lnTo>
                  <a:lnTo>
                    <a:pt x="2207" y="1552"/>
                  </a:lnTo>
                  <a:lnTo>
                    <a:pt x="2211" y="1556"/>
                  </a:lnTo>
                  <a:lnTo>
                    <a:pt x="2215" y="1559"/>
                  </a:lnTo>
                  <a:lnTo>
                    <a:pt x="2217" y="1561"/>
                  </a:lnTo>
                  <a:lnTo>
                    <a:pt x="2218" y="1561"/>
                  </a:lnTo>
                  <a:lnTo>
                    <a:pt x="2218" y="1563"/>
                  </a:lnTo>
                  <a:lnTo>
                    <a:pt x="2218" y="1566"/>
                  </a:lnTo>
                  <a:lnTo>
                    <a:pt x="2397" y="1566"/>
                  </a:lnTo>
                  <a:lnTo>
                    <a:pt x="2395" y="1486"/>
                  </a:lnTo>
                  <a:lnTo>
                    <a:pt x="2388" y="1407"/>
                  </a:lnTo>
                  <a:lnTo>
                    <a:pt x="2378" y="1330"/>
                  </a:lnTo>
                  <a:lnTo>
                    <a:pt x="2365" y="1252"/>
                  </a:lnTo>
                  <a:lnTo>
                    <a:pt x="2347" y="1176"/>
                  </a:lnTo>
                  <a:lnTo>
                    <a:pt x="2325" y="1101"/>
                  </a:lnTo>
                  <a:lnTo>
                    <a:pt x="2300" y="1030"/>
                  </a:lnTo>
                  <a:lnTo>
                    <a:pt x="2272" y="958"/>
                  </a:lnTo>
                  <a:lnTo>
                    <a:pt x="2240" y="889"/>
                  </a:lnTo>
                  <a:lnTo>
                    <a:pt x="2207" y="821"/>
                  </a:lnTo>
                  <a:lnTo>
                    <a:pt x="2169" y="755"/>
                  </a:lnTo>
                  <a:lnTo>
                    <a:pt x="2128" y="692"/>
                  </a:lnTo>
                  <a:lnTo>
                    <a:pt x="2084" y="631"/>
                  </a:lnTo>
                  <a:lnTo>
                    <a:pt x="2037" y="571"/>
                  </a:lnTo>
                  <a:lnTo>
                    <a:pt x="1987" y="515"/>
                  </a:lnTo>
                  <a:lnTo>
                    <a:pt x="1935" y="459"/>
                  </a:lnTo>
                  <a:lnTo>
                    <a:pt x="1880" y="408"/>
                  </a:lnTo>
                  <a:lnTo>
                    <a:pt x="1823" y="359"/>
                  </a:lnTo>
                  <a:lnTo>
                    <a:pt x="1765" y="312"/>
                  </a:lnTo>
                  <a:lnTo>
                    <a:pt x="1703" y="268"/>
                  </a:lnTo>
                  <a:lnTo>
                    <a:pt x="1639" y="227"/>
                  </a:lnTo>
                  <a:lnTo>
                    <a:pt x="1573" y="190"/>
                  </a:lnTo>
                  <a:lnTo>
                    <a:pt x="1506" y="155"/>
                  </a:lnTo>
                  <a:lnTo>
                    <a:pt x="1436" y="123"/>
                  </a:lnTo>
                  <a:lnTo>
                    <a:pt x="1366" y="95"/>
                  </a:lnTo>
                  <a:lnTo>
                    <a:pt x="1293" y="71"/>
                  </a:lnTo>
                  <a:lnTo>
                    <a:pt x="1218" y="50"/>
                  </a:lnTo>
                  <a:lnTo>
                    <a:pt x="1142" y="32"/>
                  </a:lnTo>
                  <a:lnTo>
                    <a:pt x="1066" y="18"/>
                  </a:lnTo>
                  <a:lnTo>
                    <a:pt x="987" y="9"/>
                  </a:lnTo>
                  <a:lnTo>
                    <a:pt x="908" y="2"/>
                  </a:lnTo>
                  <a:lnTo>
                    <a:pt x="827" y="0"/>
                  </a:lnTo>
                  <a:lnTo>
                    <a:pt x="773" y="2"/>
                  </a:lnTo>
                  <a:lnTo>
                    <a:pt x="719" y="3"/>
                  </a:lnTo>
                  <a:lnTo>
                    <a:pt x="667" y="9"/>
                  </a:lnTo>
                  <a:lnTo>
                    <a:pt x="614" y="15"/>
                  </a:lnTo>
                  <a:lnTo>
                    <a:pt x="563" y="22"/>
                  </a:lnTo>
                  <a:lnTo>
                    <a:pt x="510" y="32"/>
                  </a:lnTo>
                  <a:lnTo>
                    <a:pt x="460" y="44"/>
                  </a:lnTo>
                  <a:lnTo>
                    <a:pt x="409" y="57"/>
                  </a:lnTo>
                  <a:lnTo>
                    <a:pt x="361" y="72"/>
                  </a:lnTo>
                  <a:lnTo>
                    <a:pt x="311" y="88"/>
                  </a:lnTo>
                  <a:lnTo>
                    <a:pt x="263" y="106"/>
                  </a:lnTo>
                  <a:lnTo>
                    <a:pt x="216" y="125"/>
                  </a:lnTo>
                  <a:lnTo>
                    <a:pt x="169" y="145"/>
                  </a:lnTo>
                  <a:lnTo>
                    <a:pt x="124" y="167"/>
                  </a:lnTo>
                  <a:lnTo>
                    <a:pt x="79" y="190"/>
                  </a:lnTo>
                  <a:lnTo>
                    <a:pt x="35" y="217"/>
                  </a:lnTo>
                  <a:lnTo>
                    <a:pt x="123" y="370"/>
                  </a:lnTo>
                  <a:lnTo>
                    <a:pt x="121" y="370"/>
                  </a:lnTo>
                  <a:lnTo>
                    <a:pt x="121" y="372"/>
                  </a:lnTo>
                  <a:lnTo>
                    <a:pt x="121" y="373"/>
                  </a:lnTo>
                  <a:lnTo>
                    <a:pt x="123" y="373"/>
                  </a:lnTo>
                  <a:lnTo>
                    <a:pt x="121" y="379"/>
                  </a:lnTo>
                  <a:lnTo>
                    <a:pt x="120" y="385"/>
                  </a:lnTo>
                  <a:lnTo>
                    <a:pt x="115" y="391"/>
                  </a:lnTo>
                  <a:lnTo>
                    <a:pt x="112" y="392"/>
                  </a:lnTo>
                  <a:lnTo>
                    <a:pt x="109" y="395"/>
                  </a:lnTo>
                  <a:lnTo>
                    <a:pt x="105" y="397"/>
                  </a:lnTo>
                  <a:lnTo>
                    <a:pt x="101" y="397"/>
                  </a:lnTo>
                  <a:lnTo>
                    <a:pt x="95" y="395"/>
                  </a:lnTo>
                  <a:lnTo>
                    <a:pt x="87" y="392"/>
                  </a:lnTo>
                  <a:lnTo>
                    <a:pt x="80" y="391"/>
                  </a:lnTo>
                  <a:lnTo>
                    <a:pt x="73" y="391"/>
                  </a:lnTo>
                  <a:lnTo>
                    <a:pt x="65" y="391"/>
                  </a:lnTo>
                  <a:lnTo>
                    <a:pt x="58" y="392"/>
                  </a:lnTo>
                  <a:lnTo>
                    <a:pt x="49" y="394"/>
                  </a:lnTo>
                  <a:lnTo>
                    <a:pt x="42" y="397"/>
                  </a:lnTo>
                  <a:lnTo>
                    <a:pt x="35" y="401"/>
                  </a:lnTo>
                  <a:lnTo>
                    <a:pt x="23" y="408"/>
                  </a:lnTo>
                  <a:lnTo>
                    <a:pt x="14" y="417"/>
                  </a:lnTo>
                  <a:lnTo>
                    <a:pt x="7" y="427"/>
                  </a:lnTo>
                  <a:lnTo>
                    <a:pt x="3" y="439"/>
                  </a:lnTo>
                  <a:lnTo>
                    <a:pt x="0" y="451"/>
                  </a:lnTo>
                  <a:lnTo>
                    <a:pt x="0" y="462"/>
                  </a:lnTo>
                  <a:lnTo>
                    <a:pt x="1" y="474"/>
                  </a:lnTo>
                  <a:lnTo>
                    <a:pt x="6" y="486"/>
                  </a:lnTo>
                  <a:lnTo>
                    <a:pt x="7" y="486"/>
                  </a:lnTo>
                  <a:lnTo>
                    <a:pt x="14" y="495"/>
                  </a:lnTo>
                  <a:lnTo>
                    <a:pt x="23" y="502"/>
                  </a:lnTo>
                  <a:lnTo>
                    <a:pt x="35" y="508"/>
                  </a:lnTo>
                  <a:lnTo>
                    <a:pt x="46" y="511"/>
                  </a:lnTo>
                  <a:lnTo>
                    <a:pt x="58" y="511"/>
                  </a:lnTo>
                  <a:lnTo>
                    <a:pt x="70" y="509"/>
                  </a:lnTo>
                  <a:lnTo>
                    <a:pt x="83" y="505"/>
                  </a:lnTo>
                  <a:lnTo>
                    <a:pt x="95" y="499"/>
                  </a:lnTo>
                  <a:lnTo>
                    <a:pt x="102" y="495"/>
                  </a:lnTo>
                  <a:lnTo>
                    <a:pt x="108" y="489"/>
                  </a:lnTo>
                  <a:lnTo>
                    <a:pt x="112" y="483"/>
                  </a:lnTo>
                  <a:lnTo>
                    <a:pt x="118" y="476"/>
                  </a:lnTo>
                  <a:lnTo>
                    <a:pt x="121" y="470"/>
                  </a:lnTo>
                  <a:lnTo>
                    <a:pt x="124" y="462"/>
                  </a:lnTo>
                  <a:lnTo>
                    <a:pt x="125" y="455"/>
                  </a:lnTo>
                  <a:lnTo>
                    <a:pt x="127" y="448"/>
                  </a:lnTo>
                  <a:lnTo>
                    <a:pt x="128" y="443"/>
                  </a:lnTo>
                  <a:lnTo>
                    <a:pt x="131" y="439"/>
                  </a:lnTo>
                  <a:lnTo>
                    <a:pt x="134" y="436"/>
                  </a:lnTo>
                  <a:lnTo>
                    <a:pt x="137" y="433"/>
                  </a:lnTo>
                  <a:lnTo>
                    <a:pt x="142" y="432"/>
                  </a:lnTo>
                  <a:lnTo>
                    <a:pt x="147" y="430"/>
                  </a:lnTo>
                  <a:lnTo>
                    <a:pt x="153" y="432"/>
                  </a:lnTo>
                  <a:lnTo>
                    <a:pt x="158" y="433"/>
                  </a:lnTo>
                  <a:lnTo>
                    <a:pt x="159" y="433"/>
                  </a:lnTo>
                  <a:lnTo>
                    <a:pt x="403" y="857"/>
                  </a:lnTo>
                  <a:lnTo>
                    <a:pt x="409" y="859"/>
                  </a:lnTo>
                  <a:lnTo>
                    <a:pt x="415" y="860"/>
                  </a:lnTo>
                  <a:lnTo>
                    <a:pt x="419" y="860"/>
                  </a:lnTo>
                  <a:lnTo>
                    <a:pt x="424" y="859"/>
                  </a:lnTo>
                  <a:lnTo>
                    <a:pt x="428" y="857"/>
                  </a:lnTo>
                  <a:lnTo>
                    <a:pt x="431" y="854"/>
                  </a:lnTo>
                  <a:lnTo>
                    <a:pt x="433" y="850"/>
                  </a:lnTo>
                  <a:lnTo>
                    <a:pt x="435" y="846"/>
                  </a:lnTo>
                  <a:lnTo>
                    <a:pt x="437" y="838"/>
                  </a:lnTo>
                  <a:lnTo>
                    <a:pt x="440" y="831"/>
                  </a:lnTo>
                  <a:lnTo>
                    <a:pt x="444" y="825"/>
                  </a:lnTo>
                  <a:lnTo>
                    <a:pt x="449" y="818"/>
                  </a:lnTo>
                  <a:lnTo>
                    <a:pt x="453" y="812"/>
                  </a:lnTo>
                  <a:lnTo>
                    <a:pt x="459" y="807"/>
                  </a:lnTo>
                  <a:lnTo>
                    <a:pt x="466" y="802"/>
                  </a:lnTo>
                  <a:lnTo>
                    <a:pt x="474" y="799"/>
                  </a:lnTo>
                  <a:lnTo>
                    <a:pt x="485" y="793"/>
                  </a:lnTo>
                  <a:lnTo>
                    <a:pt x="498" y="791"/>
                  </a:lnTo>
                  <a:lnTo>
                    <a:pt x="512" y="791"/>
                  </a:lnTo>
                  <a:lnTo>
                    <a:pt x="523" y="793"/>
                  </a:lnTo>
                  <a:lnTo>
                    <a:pt x="535" y="797"/>
                  </a:lnTo>
                  <a:lnTo>
                    <a:pt x="545" y="803"/>
                  </a:lnTo>
                  <a:lnTo>
                    <a:pt x="552" y="812"/>
                  </a:lnTo>
                  <a:lnTo>
                    <a:pt x="560" y="822"/>
                  </a:lnTo>
                  <a:lnTo>
                    <a:pt x="563" y="834"/>
                  </a:lnTo>
                  <a:lnTo>
                    <a:pt x="564" y="846"/>
                  </a:lnTo>
                  <a:lnTo>
                    <a:pt x="563" y="857"/>
                  </a:lnTo>
                  <a:lnTo>
                    <a:pt x="558" y="869"/>
                  </a:lnTo>
                  <a:lnTo>
                    <a:pt x="552" y="879"/>
                  </a:lnTo>
                  <a:lnTo>
                    <a:pt x="544" y="888"/>
                  </a:lnTo>
                  <a:lnTo>
                    <a:pt x="533" y="897"/>
                  </a:lnTo>
                  <a:lnTo>
                    <a:pt x="522" y="903"/>
                  </a:lnTo>
                  <a:lnTo>
                    <a:pt x="514" y="905"/>
                  </a:lnTo>
                  <a:lnTo>
                    <a:pt x="506" y="908"/>
                  </a:lnTo>
                  <a:lnTo>
                    <a:pt x="498" y="908"/>
                  </a:lnTo>
                  <a:lnTo>
                    <a:pt x="490" y="910"/>
                  </a:lnTo>
                  <a:lnTo>
                    <a:pt x="482" y="908"/>
                  </a:lnTo>
                  <a:lnTo>
                    <a:pt x="475" y="907"/>
                  </a:lnTo>
                  <a:lnTo>
                    <a:pt x="468" y="904"/>
                  </a:lnTo>
                  <a:lnTo>
                    <a:pt x="460" y="901"/>
                  </a:lnTo>
                  <a:lnTo>
                    <a:pt x="456" y="900"/>
                  </a:lnTo>
                  <a:lnTo>
                    <a:pt x="452" y="900"/>
                  </a:lnTo>
                  <a:lnTo>
                    <a:pt x="447" y="900"/>
                  </a:lnTo>
                  <a:lnTo>
                    <a:pt x="443" y="901"/>
                  </a:lnTo>
                  <a:lnTo>
                    <a:pt x="440" y="905"/>
                  </a:lnTo>
                  <a:lnTo>
                    <a:pt x="434" y="910"/>
                  </a:lnTo>
                  <a:lnTo>
                    <a:pt x="509" y="1039"/>
                  </a:lnTo>
                  <a:lnTo>
                    <a:pt x="544" y="1018"/>
                  </a:lnTo>
                  <a:lnTo>
                    <a:pt x="582" y="1001"/>
                  </a:lnTo>
                  <a:lnTo>
                    <a:pt x="620" y="986"/>
                  </a:lnTo>
                  <a:lnTo>
                    <a:pt x="659" y="973"/>
                  </a:lnTo>
                  <a:lnTo>
                    <a:pt x="700" y="964"/>
                  </a:lnTo>
                  <a:lnTo>
                    <a:pt x="741" y="957"/>
                  </a:lnTo>
                  <a:lnTo>
                    <a:pt x="763" y="954"/>
                  </a:lnTo>
                  <a:lnTo>
                    <a:pt x="784" y="952"/>
                  </a:lnTo>
                  <a:lnTo>
                    <a:pt x="805" y="951"/>
                  </a:lnTo>
                  <a:lnTo>
                    <a:pt x="827" y="951"/>
                  </a:lnTo>
                  <a:lnTo>
                    <a:pt x="858" y="951"/>
                  </a:lnTo>
                  <a:lnTo>
                    <a:pt x="890" y="954"/>
                  </a:lnTo>
                  <a:lnTo>
                    <a:pt x="921" y="957"/>
                  </a:lnTo>
                  <a:lnTo>
                    <a:pt x="952" y="962"/>
                  </a:lnTo>
                  <a:lnTo>
                    <a:pt x="981" y="970"/>
                  </a:lnTo>
                  <a:lnTo>
                    <a:pt x="1010" y="979"/>
                  </a:lnTo>
                  <a:lnTo>
                    <a:pt x="1039" y="987"/>
                  </a:lnTo>
                  <a:lnTo>
                    <a:pt x="1067" y="999"/>
                  </a:lnTo>
                  <a:lnTo>
                    <a:pt x="1095" y="1011"/>
                  </a:lnTo>
                  <a:lnTo>
                    <a:pt x="1121" y="1025"/>
                  </a:lnTo>
                  <a:lnTo>
                    <a:pt x="1148" y="1040"/>
                  </a:lnTo>
                  <a:lnTo>
                    <a:pt x="1173" y="1056"/>
                  </a:lnTo>
                  <a:lnTo>
                    <a:pt x="1196" y="1074"/>
                  </a:lnTo>
                  <a:lnTo>
                    <a:pt x="1219" y="1091"/>
                  </a:lnTo>
                  <a:lnTo>
                    <a:pt x="1243" y="1110"/>
                  </a:lnTo>
                  <a:lnTo>
                    <a:pt x="1265" y="1131"/>
                  </a:lnTo>
                  <a:lnTo>
                    <a:pt x="1285" y="1153"/>
                  </a:lnTo>
                  <a:lnTo>
                    <a:pt x="1304" y="1175"/>
                  </a:lnTo>
                  <a:lnTo>
                    <a:pt x="1323" y="1198"/>
                  </a:lnTo>
                  <a:lnTo>
                    <a:pt x="1339" y="1223"/>
                  </a:lnTo>
                  <a:lnTo>
                    <a:pt x="1355" y="1248"/>
                  </a:lnTo>
                  <a:lnTo>
                    <a:pt x="1371" y="1274"/>
                  </a:lnTo>
                  <a:lnTo>
                    <a:pt x="1385" y="1300"/>
                  </a:lnTo>
                  <a:lnTo>
                    <a:pt x="1398" y="1327"/>
                  </a:lnTo>
                  <a:lnTo>
                    <a:pt x="1408" y="1356"/>
                  </a:lnTo>
                  <a:lnTo>
                    <a:pt x="1418" y="1384"/>
                  </a:lnTo>
                  <a:lnTo>
                    <a:pt x="1427" y="1413"/>
                  </a:lnTo>
                  <a:lnTo>
                    <a:pt x="1434" y="1444"/>
                  </a:lnTo>
                  <a:lnTo>
                    <a:pt x="1439" y="1473"/>
                  </a:lnTo>
                  <a:lnTo>
                    <a:pt x="1443" y="1504"/>
                  </a:lnTo>
                  <a:lnTo>
                    <a:pt x="1446" y="1536"/>
                  </a:lnTo>
                  <a:lnTo>
                    <a:pt x="1448" y="1566"/>
                  </a:lnTo>
                  <a:lnTo>
                    <a:pt x="1594" y="1566"/>
                  </a:lnTo>
                </a:path>
              </a:pathLst>
            </a:custGeom>
            <a:solidFill>
              <a:srgbClr val="ACC7DC"/>
            </a:solidFill>
            <a:ln w="1588">
              <a:solidFill>
                <a:srgbClr val="EAEAEA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922" name="Freeform 10">
              <a:extLst>
                <a:ext uri="{FF2B5EF4-FFF2-40B4-BE49-F238E27FC236}">
                  <a16:creationId xmlns:a16="http://schemas.microsoft.com/office/drawing/2014/main" id="{2C34AEFF-698E-024C-932B-D8501BF2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9" y="2403"/>
              <a:ext cx="2032" cy="1504"/>
            </a:xfrm>
            <a:custGeom>
              <a:avLst/>
              <a:gdLst>
                <a:gd name="T0" fmla="*/ 380 w 2350"/>
                <a:gd name="T1" fmla="*/ 822 h 1738"/>
                <a:gd name="T2" fmla="*/ 367 w 2350"/>
                <a:gd name="T3" fmla="*/ 781 h 1738"/>
                <a:gd name="T4" fmla="*/ 314 w 2350"/>
                <a:gd name="T5" fmla="*/ 749 h 1738"/>
                <a:gd name="T6" fmla="*/ 260 w 2350"/>
                <a:gd name="T7" fmla="*/ 771 h 1738"/>
                <a:gd name="T8" fmla="*/ 254 w 2350"/>
                <a:gd name="T9" fmla="*/ 783 h 1738"/>
                <a:gd name="T10" fmla="*/ 272 w 2350"/>
                <a:gd name="T11" fmla="*/ 850 h 1738"/>
                <a:gd name="T12" fmla="*/ 320 w 2350"/>
                <a:gd name="T13" fmla="*/ 871 h 1738"/>
                <a:gd name="T14" fmla="*/ 357 w 2350"/>
                <a:gd name="T15" fmla="*/ 868 h 1738"/>
                <a:gd name="T16" fmla="*/ 369 w 2350"/>
                <a:gd name="T17" fmla="*/ 891 h 1738"/>
                <a:gd name="T18" fmla="*/ 130 w 2350"/>
                <a:gd name="T19" fmla="*/ 1315 h 1738"/>
                <a:gd name="T20" fmla="*/ 149 w 2350"/>
                <a:gd name="T21" fmla="*/ 1337 h 1738"/>
                <a:gd name="T22" fmla="*/ 187 w 2350"/>
                <a:gd name="T23" fmla="*/ 1330 h 1738"/>
                <a:gd name="T24" fmla="*/ 240 w 2350"/>
                <a:gd name="T25" fmla="*/ 1353 h 1738"/>
                <a:gd name="T26" fmla="*/ 252 w 2350"/>
                <a:gd name="T27" fmla="*/ 1420 h 1738"/>
                <a:gd name="T28" fmla="*/ 252 w 2350"/>
                <a:gd name="T29" fmla="*/ 1422 h 1738"/>
                <a:gd name="T30" fmla="*/ 189 w 2350"/>
                <a:gd name="T31" fmla="*/ 1448 h 1738"/>
                <a:gd name="T32" fmla="*/ 139 w 2350"/>
                <a:gd name="T33" fmla="*/ 1417 h 1738"/>
                <a:gd name="T34" fmla="*/ 124 w 2350"/>
                <a:gd name="T35" fmla="*/ 1381 h 1738"/>
                <a:gd name="T36" fmla="*/ 97 w 2350"/>
                <a:gd name="T37" fmla="*/ 1377 h 1738"/>
                <a:gd name="T38" fmla="*/ 70 w 2350"/>
                <a:gd name="T39" fmla="*/ 1568 h 1738"/>
                <a:gd name="T40" fmla="*/ 513 w 2350"/>
                <a:gd name="T41" fmla="*/ 1716 h 1738"/>
                <a:gd name="T42" fmla="*/ 968 w 2350"/>
                <a:gd name="T43" fmla="*/ 1727 h 1738"/>
                <a:gd name="T44" fmla="*/ 1403 w 2350"/>
                <a:gd name="T45" fmla="*/ 1610 h 1738"/>
                <a:gd name="T46" fmla="*/ 1790 w 2350"/>
                <a:gd name="T47" fmla="*/ 1372 h 1738"/>
                <a:gd name="T48" fmla="*/ 2100 w 2350"/>
                <a:gd name="T49" fmla="*/ 1023 h 1738"/>
                <a:gd name="T50" fmla="*/ 2255 w 2350"/>
                <a:gd name="T51" fmla="*/ 714 h 1738"/>
                <a:gd name="T52" fmla="*/ 2333 w 2350"/>
                <a:gd name="T53" fmla="*/ 413 h 1738"/>
                <a:gd name="T54" fmla="*/ 2173 w 2350"/>
                <a:gd name="T55" fmla="*/ 160 h 1738"/>
                <a:gd name="T56" fmla="*/ 2162 w 2350"/>
                <a:gd name="T57" fmla="*/ 148 h 1738"/>
                <a:gd name="T58" fmla="*/ 2166 w 2350"/>
                <a:gd name="T59" fmla="*/ 123 h 1738"/>
                <a:gd name="T60" fmla="*/ 2189 w 2350"/>
                <a:gd name="T61" fmla="*/ 84 h 1738"/>
                <a:gd name="T62" fmla="*/ 2173 w 2350"/>
                <a:gd name="T63" fmla="*/ 21 h 1738"/>
                <a:gd name="T64" fmla="*/ 2132 w 2350"/>
                <a:gd name="T65" fmla="*/ 0 h 1738"/>
                <a:gd name="T66" fmla="*/ 2109 w 2350"/>
                <a:gd name="T67" fmla="*/ 8 h 1738"/>
                <a:gd name="T68" fmla="*/ 2075 w 2350"/>
                <a:gd name="T69" fmla="*/ 71 h 1738"/>
                <a:gd name="T70" fmla="*/ 2093 w 2350"/>
                <a:gd name="T71" fmla="*/ 115 h 1738"/>
                <a:gd name="T72" fmla="*/ 2112 w 2350"/>
                <a:gd name="T73" fmla="*/ 139 h 1738"/>
                <a:gd name="T74" fmla="*/ 2100 w 2350"/>
                <a:gd name="T75" fmla="*/ 160 h 1738"/>
                <a:gd name="T76" fmla="*/ 1600 w 2350"/>
                <a:gd name="T77" fmla="*/ 180 h 1738"/>
                <a:gd name="T78" fmla="*/ 1619 w 2350"/>
                <a:gd name="T79" fmla="*/ 210 h 1738"/>
                <a:gd name="T80" fmla="*/ 1625 w 2350"/>
                <a:gd name="T81" fmla="*/ 262 h 1738"/>
                <a:gd name="T82" fmla="*/ 1577 w 2350"/>
                <a:gd name="T83" fmla="*/ 310 h 1738"/>
                <a:gd name="T84" fmla="*/ 1563 w 2350"/>
                <a:gd name="T85" fmla="*/ 312 h 1738"/>
                <a:gd name="T86" fmla="*/ 1518 w 2350"/>
                <a:gd name="T87" fmla="*/ 277 h 1738"/>
                <a:gd name="T88" fmla="*/ 1520 w 2350"/>
                <a:gd name="T89" fmla="*/ 214 h 1738"/>
                <a:gd name="T90" fmla="*/ 1547 w 2350"/>
                <a:gd name="T91" fmla="*/ 183 h 1738"/>
                <a:gd name="T92" fmla="*/ 1401 w 2350"/>
                <a:gd name="T93" fmla="*/ 158 h 1738"/>
                <a:gd name="T94" fmla="*/ 1357 w 2350"/>
                <a:gd name="T95" fmla="*/ 403 h 1738"/>
                <a:gd name="T96" fmla="*/ 1284 w 2350"/>
                <a:gd name="T97" fmla="*/ 533 h 1738"/>
                <a:gd name="T98" fmla="*/ 1157 w 2350"/>
                <a:gd name="T99" fmla="*/ 663 h 1738"/>
                <a:gd name="T100" fmla="*/ 1000 w 2350"/>
                <a:gd name="T101" fmla="*/ 749 h 1738"/>
                <a:gd name="T102" fmla="*/ 826 w 2350"/>
                <a:gd name="T103" fmla="*/ 787 h 1738"/>
                <a:gd name="T104" fmla="*/ 648 w 2350"/>
                <a:gd name="T105" fmla="*/ 774 h 1738"/>
                <a:gd name="T106" fmla="*/ 475 w 2350"/>
                <a:gd name="T107" fmla="*/ 707 h 1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50" h="1738">
                  <a:moveTo>
                    <a:pt x="401" y="835"/>
                  </a:moveTo>
                  <a:lnTo>
                    <a:pt x="393" y="834"/>
                  </a:lnTo>
                  <a:lnTo>
                    <a:pt x="388" y="833"/>
                  </a:lnTo>
                  <a:lnTo>
                    <a:pt x="385" y="830"/>
                  </a:lnTo>
                  <a:lnTo>
                    <a:pt x="382" y="827"/>
                  </a:lnTo>
                  <a:lnTo>
                    <a:pt x="380" y="822"/>
                  </a:lnTo>
                  <a:lnTo>
                    <a:pt x="379" y="816"/>
                  </a:lnTo>
                  <a:lnTo>
                    <a:pt x="377" y="809"/>
                  </a:lnTo>
                  <a:lnTo>
                    <a:pt x="376" y="802"/>
                  </a:lnTo>
                  <a:lnTo>
                    <a:pt x="374" y="795"/>
                  </a:lnTo>
                  <a:lnTo>
                    <a:pt x="371" y="787"/>
                  </a:lnTo>
                  <a:lnTo>
                    <a:pt x="367" y="781"/>
                  </a:lnTo>
                  <a:lnTo>
                    <a:pt x="361" y="774"/>
                  </a:lnTo>
                  <a:lnTo>
                    <a:pt x="357" y="768"/>
                  </a:lnTo>
                  <a:lnTo>
                    <a:pt x="350" y="764"/>
                  </a:lnTo>
                  <a:lnTo>
                    <a:pt x="338" y="756"/>
                  </a:lnTo>
                  <a:lnTo>
                    <a:pt x="326" y="752"/>
                  </a:lnTo>
                  <a:lnTo>
                    <a:pt x="314" y="749"/>
                  </a:lnTo>
                  <a:lnTo>
                    <a:pt x="301" y="749"/>
                  </a:lnTo>
                  <a:lnTo>
                    <a:pt x="290" y="752"/>
                  </a:lnTo>
                  <a:lnTo>
                    <a:pt x="279" y="755"/>
                  </a:lnTo>
                  <a:lnTo>
                    <a:pt x="269" y="762"/>
                  </a:lnTo>
                  <a:lnTo>
                    <a:pt x="260" y="771"/>
                  </a:lnTo>
                  <a:lnTo>
                    <a:pt x="254" y="783"/>
                  </a:lnTo>
                  <a:lnTo>
                    <a:pt x="252" y="793"/>
                  </a:lnTo>
                  <a:lnTo>
                    <a:pt x="252" y="805"/>
                  </a:lnTo>
                  <a:lnTo>
                    <a:pt x="253" y="818"/>
                  </a:lnTo>
                  <a:lnTo>
                    <a:pt x="257" y="828"/>
                  </a:lnTo>
                  <a:lnTo>
                    <a:pt x="265" y="840"/>
                  </a:lnTo>
                  <a:lnTo>
                    <a:pt x="272" y="850"/>
                  </a:lnTo>
                  <a:lnTo>
                    <a:pt x="284" y="857"/>
                  </a:lnTo>
                  <a:lnTo>
                    <a:pt x="290" y="862"/>
                  </a:lnTo>
                  <a:lnTo>
                    <a:pt x="298" y="866"/>
                  </a:lnTo>
                  <a:lnTo>
                    <a:pt x="306" y="868"/>
                  </a:lnTo>
                  <a:lnTo>
                    <a:pt x="313" y="869"/>
                  </a:lnTo>
                  <a:lnTo>
                    <a:pt x="320" y="871"/>
                  </a:lnTo>
                  <a:lnTo>
                    <a:pt x="329" y="871"/>
                  </a:lnTo>
                  <a:lnTo>
                    <a:pt x="336" y="869"/>
                  </a:lnTo>
                  <a:lnTo>
                    <a:pt x="344" y="868"/>
                  </a:lnTo>
                  <a:lnTo>
                    <a:pt x="348" y="866"/>
                  </a:lnTo>
                  <a:lnTo>
                    <a:pt x="352" y="868"/>
                  </a:lnTo>
                  <a:lnTo>
                    <a:pt x="357" y="868"/>
                  </a:lnTo>
                  <a:lnTo>
                    <a:pt x="360" y="871"/>
                  </a:lnTo>
                  <a:lnTo>
                    <a:pt x="363" y="873"/>
                  </a:lnTo>
                  <a:lnTo>
                    <a:pt x="366" y="878"/>
                  </a:lnTo>
                  <a:lnTo>
                    <a:pt x="369" y="885"/>
                  </a:lnTo>
                  <a:lnTo>
                    <a:pt x="369" y="890"/>
                  </a:lnTo>
                  <a:lnTo>
                    <a:pt x="369" y="891"/>
                  </a:lnTo>
                  <a:lnTo>
                    <a:pt x="254" y="1090"/>
                  </a:lnTo>
                  <a:lnTo>
                    <a:pt x="214" y="1159"/>
                  </a:lnTo>
                  <a:lnTo>
                    <a:pt x="124" y="1314"/>
                  </a:lnTo>
                  <a:lnTo>
                    <a:pt x="127" y="1315"/>
                  </a:lnTo>
                  <a:lnTo>
                    <a:pt x="130" y="1315"/>
                  </a:lnTo>
                  <a:lnTo>
                    <a:pt x="130" y="1321"/>
                  </a:lnTo>
                  <a:lnTo>
                    <a:pt x="133" y="1327"/>
                  </a:lnTo>
                  <a:lnTo>
                    <a:pt x="137" y="1331"/>
                  </a:lnTo>
                  <a:lnTo>
                    <a:pt x="140" y="1334"/>
                  </a:lnTo>
                  <a:lnTo>
                    <a:pt x="145" y="1336"/>
                  </a:lnTo>
                  <a:lnTo>
                    <a:pt x="149" y="1337"/>
                  </a:lnTo>
                  <a:lnTo>
                    <a:pt x="154" y="1337"/>
                  </a:lnTo>
                  <a:lnTo>
                    <a:pt x="158" y="1336"/>
                  </a:lnTo>
                  <a:lnTo>
                    <a:pt x="165" y="1333"/>
                  </a:lnTo>
                  <a:lnTo>
                    <a:pt x="173" y="1331"/>
                  </a:lnTo>
                  <a:lnTo>
                    <a:pt x="180" y="1330"/>
                  </a:lnTo>
                  <a:lnTo>
                    <a:pt x="187" y="1330"/>
                  </a:lnTo>
                  <a:lnTo>
                    <a:pt x="196" y="1330"/>
                  </a:lnTo>
                  <a:lnTo>
                    <a:pt x="203" y="1331"/>
                  </a:lnTo>
                  <a:lnTo>
                    <a:pt x="211" y="1334"/>
                  </a:lnTo>
                  <a:lnTo>
                    <a:pt x="219" y="1338"/>
                  </a:lnTo>
                  <a:lnTo>
                    <a:pt x="230" y="1344"/>
                  </a:lnTo>
                  <a:lnTo>
                    <a:pt x="240" y="1353"/>
                  </a:lnTo>
                  <a:lnTo>
                    <a:pt x="247" y="1363"/>
                  </a:lnTo>
                  <a:lnTo>
                    <a:pt x="253" y="1375"/>
                  </a:lnTo>
                  <a:lnTo>
                    <a:pt x="256" y="1387"/>
                  </a:lnTo>
                  <a:lnTo>
                    <a:pt x="257" y="1398"/>
                  </a:lnTo>
                  <a:lnTo>
                    <a:pt x="256" y="1410"/>
                  </a:lnTo>
                  <a:lnTo>
                    <a:pt x="252" y="1420"/>
                  </a:lnTo>
                  <a:lnTo>
                    <a:pt x="252" y="1422"/>
                  </a:lnTo>
                  <a:lnTo>
                    <a:pt x="244" y="1431"/>
                  </a:lnTo>
                  <a:lnTo>
                    <a:pt x="235" y="1439"/>
                  </a:lnTo>
                  <a:lnTo>
                    <a:pt x="224" y="1444"/>
                  </a:lnTo>
                  <a:lnTo>
                    <a:pt x="214" y="1448"/>
                  </a:lnTo>
                  <a:lnTo>
                    <a:pt x="200" y="1450"/>
                  </a:lnTo>
                  <a:lnTo>
                    <a:pt x="189" y="1448"/>
                  </a:lnTo>
                  <a:lnTo>
                    <a:pt x="175" y="1445"/>
                  </a:lnTo>
                  <a:lnTo>
                    <a:pt x="164" y="1439"/>
                  </a:lnTo>
                  <a:lnTo>
                    <a:pt x="156" y="1435"/>
                  </a:lnTo>
                  <a:lnTo>
                    <a:pt x="151" y="1429"/>
                  </a:lnTo>
                  <a:lnTo>
                    <a:pt x="145" y="1423"/>
                  </a:lnTo>
                  <a:lnTo>
                    <a:pt x="139" y="1417"/>
                  </a:lnTo>
                  <a:lnTo>
                    <a:pt x="136" y="1412"/>
                  </a:lnTo>
                  <a:lnTo>
                    <a:pt x="133" y="1404"/>
                  </a:lnTo>
                  <a:lnTo>
                    <a:pt x="130" y="1397"/>
                  </a:lnTo>
                  <a:lnTo>
                    <a:pt x="129" y="1390"/>
                  </a:lnTo>
                  <a:lnTo>
                    <a:pt x="127" y="1385"/>
                  </a:lnTo>
                  <a:lnTo>
                    <a:pt x="124" y="1381"/>
                  </a:lnTo>
                  <a:lnTo>
                    <a:pt x="121" y="1378"/>
                  </a:lnTo>
                  <a:lnTo>
                    <a:pt x="118" y="1375"/>
                  </a:lnTo>
                  <a:lnTo>
                    <a:pt x="114" y="1375"/>
                  </a:lnTo>
                  <a:lnTo>
                    <a:pt x="108" y="1374"/>
                  </a:lnTo>
                  <a:lnTo>
                    <a:pt x="102" y="1374"/>
                  </a:lnTo>
                  <a:lnTo>
                    <a:pt x="97" y="1377"/>
                  </a:lnTo>
                  <a:lnTo>
                    <a:pt x="97" y="1378"/>
                  </a:lnTo>
                  <a:lnTo>
                    <a:pt x="95" y="1379"/>
                  </a:lnTo>
                  <a:lnTo>
                    <a:pt x="92" y="1378"/>
                  </a:lnTo>
                  <a:lnTo>
                    <a:pt x="89" y="1375"/>
                  </a:lnTo>
                  <a:lnTo>
                    <a:pt x="0" y="1530"/>
                  </a:lnTo>
                  <a:lnTo>
                    <a:pt x="70" y="1568"/>
                  </a:lnTo>
                  <a:lnTo>
                    <a:pt x="142" y="1603"/>
                  </a:lnTo>
                  <a:lnTo>
                    <a:pt x="215" y="1632"/>
                  </a:lnTo>
                  <a:lnTo>
                    <a:pt x="290" y="1660"/>
                  </a:lnTo>
                  <a:lnTo>
                    <a:pt x="363" y="1682"/>
                  </a:lnTo>
                  <a:lnTo>
                    <a:pt x="439" y="1701"/>
                  </a:lnTo>
                  <a:lnTo>
                    <a:pt x="513" y="1716"/>
                  </a:lnTo>
                  <a:lnTo>
                    <a:pt x="589" y="1727"/>
                  </a:lnTo>
                  <a:lnTo>
                    <a:pt x="665" y="1735"/>
                  </a:lnTo>
                  <a:lnTo>
                    <a:pt x="741" y="1738"/>
                  </a:lnTo>
                  <a:lnTo>
                    <a:pt x="818" y="1738"/>
                  </a:lnTo>
                  <a:lnTo>
                    <a:pt x="892" y="1735"/>
                  </a:lnTo>
                  <a:lnTo>
                    <a:pt x="968" y="1727"/>
                  </a:lnTo>
                  <a:lnTo>
                    <a:pt x="1043" y="1716"/>
                  </a:lnTo>
                  <a:lnTo>
                    <a:pt x="1116" y="1701"/>
                  </a:lnTo>
                  <a:lnTo>
                    <a:pt x="1189" y="1684"/>
                  </a:lnTo>
                  <a:lnTo>
                    <a:pt x="1262" y="1663"/>
                  </a:lnTo>
                  <a:lnTo>
                    <a:pt x="1332" y="1638"/>
                  </a:lnTo>
                  <a:lnTo>
                    <a:pt x="1403" y="1610"/>
                  </a:lnTo>
                  <a:lnTo>
                    <a:pt x="1471" y="1578"/>
                  </a:lnTo>
                  <a:lnTo>
                    <a:pt x="1539" y="1543"/>
                  </a:lnTo>
                  <a:lnTo>
                    <a:pt x="1604" y="1505"/>
                  </a:lnTo>
                  <a:lnTo>
                    <a:pt x="1667" y="1464"/>
                  </a:lnTo>
                  <a:lnTo>
                    <a:pt x="1730" y="1420"/>
                  </a:lnTo>
                  <a:lnTo>
                    <a:pt x="1790" y="1372"/>
                  </a:lnTo>
                  <a:lnTo>
                    <a:pt x="1847" y="1322"/>
                  </a:lnTo>
                  <a:lnTo>
                    <a:pt x="1903" y="1268"/>
                  </a:lnTo>
                  <a:lnTo>
                    <a:pt x="1957" y="1211"/>
                  </a:lnTo>
                  <a:lnTo>
                    <a:pt x="2007" y="1151"/>
                  </a:lnTo>
                  <a:lnTo>
                    <a:pt x="2055" y="1088"/>
                  </a:lnTo>
                  <a:lnTo>
                    <a:pt x="2100" y="1023"/>
                  </a:lnTo>
                  <a:lnTo>
                    <a:pt x="2141" y="954"/>
                  </a:lnTo>
                  <a:lnTo>
                    <a:pt x="2167" y="907"/>
                  </a:lnTo>
                  <a:lnTo>
                    <a:pt x="2192" y="859"/>
                  </a:lnTo>
                  <a:lnTo>
                    <a:pt x="2214" y="811"/>
                  </a:lnTo>
                  <a:lnTo>
                    <a:pt x="2236" y="762"/>
                  </a:lnTo>
                  <a:lnTo>
                    <a:pt x="2255" y="714"/>
                  </a:lnTo>
                  <a:lnTo>
                    <a:pt x="2271" y="664"/>
                  </a:lnTo>
                  <a:lnTo>
                    <a:pt x="2287" y="615"/>
                  </a:lnTo>
                  <a:lnTo>
                    <a:pt x="2301" y="565"/>
                  </a:lnTo>
                  <a:lnTo>
                    <a:pt x="2314" y="514"/>
                  </a:lnTo>
                  <a:lnTo>
                    <a:pt x="2324" y="464"/>
                  </a:lnTo>
                  <a:lnTo>
                    <a:pt x="2333" y="413"/>
                  </a:lnTo>
                  <a:lnTo>
                    <a:pt x="2340" y="363"/>
                  </a:lnTo>
                  <a:lnTo>
                    <a:pt x="2344" y="312"/>
                  </a:lnTo>
                  <a:lnTo>
                    <a:pt x="2349" y="261"/>
                  </a:lnTo>
                  <a:lnTo>
                    <a:pt x="2350" y="210"/>
                  </a:lnTo>
                  <a:lnTo>
                    <a:pt x="2350" y="160"/>
                  </a:lnTo>
                  <a:lnTo>
                    <a:pt x="2173" y="160"/>
                  </a:lnTo>
                  <a:lnTo>
                    <a:pt x="2173" y="158"/>
                  </a:lnTo>
                  <a:lnTo>
                    <a:pt x="2173" y="157"/>
                  </a:lnTo>
                  <a:lnTo>
                    <a:pt x="2172" y="157"/>
                  </a:lnTo>
                  <a:lnTo>
                    <a:pt x="2170" y="157"/>
                  </a:lnTo>
                  <a:lnTo>
                    <a:pt x="2166" y="154"/>
                  </a:lnTo>
                  <a:lnTo>
                    <a:pt x="2162" y="148"/>
                  </a:lnTo>
                  <a:lnTo>
                    <a:pt x="2160" y="142"/>
                  </a:lnTo>
                  <a:lnTo>
                    <a:pt x="2159" y="139"/>
                  </a:lnTo>
                  <a:lnTo>
                    <a:pt x="2159" y="135"/>
                  </a:lnTo>
                  <a:lnTo>
                    <a:pt x="2160" y="131"/>
                  </a:lnTo>
                  <a:lnTo>
                    <a:pt x="2162" y="126"/>
                  </a:lnTo>
                  <a:lnTo>
                    <a:pt x="2166" y="123"/>
                  </a:lnTo>
                  <a:lnTo>
                    <a:pt x="2172" y="117"/>
                  </a:lnTo>
                  <a:lnTo>
                    <a:pt x="2176" y="112"/>
                  </a:lnTo>
                  <a:lnTo>
                    <a:pt x="2181" y="106"/>
                  </a:lnTo>
                  <a:lnTo>
                    <a:pt x="2184" y="98"/>
                  </a:lnTo>
                  <a:lnTo>
                    <a:pt x="2188" y="91"/>
                  </a:lnTo>
                  <a:lnTo>
                    <a:pt x="2189" y="84"/>
                  </a:lnTo>
                  <a:lnTo>
                    <a:pt x="2191" y="77"/>
                  </a:lnTo>
                  <a:lnTo>
                    <a:pt x="2191" y="68"/>
                  </a:lnTo>
                  <a:lnTo>
                    <a:pt x="2189" y="55"/>
                  </a:lnTo>
                  <a:lnTo>
                    <a:pt x="2186" y="41"/>
                  </a:lnTo>
                  <a:lnTo>
                    <a:pt x="2181" y="30"/>
                  </a:lnTo>
                  <a:lnTo>
                    <a:pt x="2173" y="21"/>
                  </a:lnTo>
                  <a:lnTo>
                    <a:pt x="2164" y="12"/>
                  </a:lnTo>
                  <a:lnTo>
                    <a:pt x="2156" y="6"/>
                  </a:lnTo>
                  <a:lnTo>
                    <a:pt x="2144" y="2"/>
                  </a:lnTo>
                  <a:lnTo>
                    <a:pt x="2132" y="0"/>
                  </a:lnTo>
                  <a:lnTo>
                    <a:pt x="2131" y="0"/>
                  </a:lnTo>
                  <a:lnTo>
                    <a:pt x="2119" y="2"/>
                  </a:lnTo>
                  <a:lnTo>
                    <a:pt x="2109" y="8"/>
                  </a:lnTo>
                  <a:lnTo>
                    <a:pt x="2099" y="14"/>
                  </a:lnTo>
                  <a:lnTo>
                    <a:pt x="2091" y="22"/>
                  </a:lnTo>
                  <a:lnTo>
                    <a:pt x="2084" y="33"/>
                  </a:lnTo>
                  <a:lnTo>
                    <a:pt x="2080" y="44"/>
                  </a:lnTo>
                  <a:lnTo>
                    <a:pt x="2077" y="58"/>
                  </a:lnTo>
                  <a:lnTo>
                    <a:pt x="2075" y="71"/>
                  </a:lnTo>
                  <a:lnTo>
                    <a:pt x="2077" y="79"/>
                  </a:lnTo>
                  <a:lnTo>
                    <a:pt x="2078" y="87"/>
                  </a:lnTo>
                  <a:lnTo>
                    <a:pt x="2081" y="94"/>
                  </a:lnTo>
                  <a:lnTo>
                    <a:pt x="2084" y="101"/>
                  </a:lnTo>
                  <a:lnTo>
                    <a:pt x="2088" y="109"/>
                  </a:lnTo>
                  <a:lnTo>
                    <a:pt x="2093" y="115"/>
                  </a:lnTo>
                  <a:lnTo>
                    <a:pt x="2099" y="119"/>
                  </a:lnTo>
                  <a:lnTo>
                    <a:pt x="2103" y="125"/>
                  </a:lnTo>
                  <a:lnTo>
                    <a:pt x="2107" y="128"/>
                  </a:lnTo>
                  <a:lnTo>
                    <a:pt x="2110" y="132"/>
                  </a:lnTo>
                  <a:lnTo>
                    <a:pt x="2112" y="135"/>
                  </a:lnTo>
                  <a:lnTo>
                    <a:pt x="2112" y="139"/>
                  </a:lnTo>
                  <a:lnTo>
                    <a:pt x="2110" y="144"/>
                  </a:lnTo>
                  <a:lnTo>
                    <a:pt x="2109" y="150"/>
                  </a:lnTo>
                  <a:lnTo>
                    <a:pt x="2105" y="155"/>
                  </a:lnTo>
                  <a:lnTo>
                    <a:pt x="2100" y="158"/>
                  </a:lnTo>
                  <a:lnTo>
                    <a:pt x="2100" y="160"/>
                  </a:lnTo>
                  <a:lnTo>
                    <a:pt x="1612" y="158"/>
                  </a:lnTo>
                  <a:lnTo>
                    <a:pt x="1607" y="163"/>
                  </a:lnTo>
                  <a:lnTo>
                    <a:pt x="1603" y="167"/>
                  </a:lnTo>
                  <a:lnTo>
                    <a:pt x="1601" y="172"/>
                  </a:lnTo>
                  <a:lnTo>
                    <a:pt x="1600" y="176"/>
                  </a:lnTo>
                  <a:lnTo>
                    <a:pt x="1600" y="180"/>
                  </a:lnTo>
                  <a:lnTo>
                    <a:pt x="1600" y="183"/>
                  </a:lnTo>
                  <a:lnTo>
                    <a:pt x="1603" y="188"/>
                  </a:lnTo>
                  <a:lnTo>
                    <a:pt x="1606" y="192"/>
                  </a:lnTo>
                  <a:lnTo>
                    <a:pt x="1610" y="198"/>
                  </a:lnTo>
                  <a:lnTo>
                    <a:pt x="1616" y="204"/>
                  </a:lnTo>
                  <a:lnTo>
                    <a:pt x="1619" y="210"/>
                  </a:lnTo>
                  <a:lnTo>
                    <a:pt x="1622" y="217"/>
                  </a:lnTo>
                  <a:lnTo>
                    <a:pt x="1625" y="224"/>
                  </a:lnTo>
                  <a:lnTo>
                    <a:pt x="1626" y="232"/>
                  </a:lnTo>
                  <a:lnTo>
                    <a:pt x="1628" y="240"/>
                  </a:lnTo>
                  <a:lnTo>
                    <a:pt x="1628" y="249"/>
                  </a:lnTo>
                  <a:lnTo>
                    <a:pt x="1625" y="262"/>
                  </a:lnTo>
                  <a:lnTo>
                    <a:pt x="1620" y="274"/>
                  </a:lnTo>
                  <a:lnTo>
                    <a:pt x="1615" y="286"/>
                  </a:lnTo>
                  <a:lnTo>
                    <a:pt x="1607" y="294"/>
                  </a:lnTo>
                  <a:lnTo>
                    <a:pt x="1597" y="302"/>
                  </a:lnTo>
                  <a:lnTo>
                    <a:pt x="1587" y="308"/>
                  </a:lnTo>
                  <a:lnTo>
                    <a:pt x="1577" y="310"/>
                  </a:lnTo>
                  <a:lnTo>
                    <a:pt x="1563" y="312"/>
                  </a:lnTo>
                  <a:lnTo>
                    <a:pt x="1552" y="309"/>
                  </a:lnTo>
                  <a:lnTo>
                    <a:pt x="1541" y="303"/>
                  </a:lnTo>
                  <a:lnTo>
                    <a:pt x="1531" y="296"/>
                  </a:lnTo>
                  <a:lnTo>
                    <a:pt x="1524" y="287"/>
                  </a:lnTo>
                  <a:lnTo>
                    <a:pt x="1518" y="277"/>
                  </a:lnTo>
                  <a:lnTo>
                    <a:pt x="1514" y="264"/>
                  </a:lnTo>
                  <a:lnTo>
                    <a:pt x="1512" y="252"/>
                  </a:lnTo>
                  <a:lnTo>
                    <a:pt x="1512" y="239"/>
                  </a:lnTo>
                  <a:lnTo>
                    <a:pt x="1514" y="230"/>
                  </a:lnTo>
                  <a:lnTo>
                    <a:pt x="1517" y="223"/>
                  </a:lnTo>
                  <a:lnTo>
                    <a:pt x="1520" y="214"/>
                  </a:lnTo>
                  <a:lnTo>
                    <a:pt x="1522" y="208"/>
                  </a:lnTo>
                  <a:lnTo>
                    <a:pt x="1527" y="201"/>
                  </a:lnTo>
                  <a:lnTo>
                    <a:pt x="1533" y="195"/>
                  </a:lnTo>
                  <a:lnTo>
                    <a:pt x="1539" y="191"/>
                  </a:lnTo>
                  <a:lnTo>
                    <a:pt x="1544" y="186"/>
                  </a:lnTo>
                  <a:lnTo>
                    <a:pt x="1547" y="183"/>
                  </a:lnTo>
                  <a:lnTo>
                    <a:pt x="1550" y="179"/>
                  </a:lnTo>
                  <a:lnTo>
                    <a:pt x="1552" y="176"/>
                  </a:lnTo>
                  <a:lnTo>
                    <a:pt x="1553" y="172"/>
                  </a:lnTo>
                  <a:lnTo>
                    <a:pt x="1552" y="166"/>
                  </a:lnTo>
                  <a:lnTo>
                    <a:pt x="1549" y="158"/>
                  </a:lnTo>
                  <a:lnTo>
                    <a:pt x="1401" y="158"/>
                  </a:lnTo>
                  <a:lnTo>
                    <a:pt x="1401" y="199"/>
                  </a:lnTo>
                  <a:lnTo>
                    <a:pt x="1398" y="240"/>
                  </a:lnTo>
                  <a:lnTo>
                    <a:pt x="1392" y="281"/>
                  </a:lnTo>
                  <a:lnTo>
                    <a:pt x="1382" y="322"/>
                  </a:lnTo>
                  <a:lnTo>
                    <a:pt x="1372" y="362"/>
                  </a:lnTo>
                  <a:lnTo>
                    <a:pt x="1357" y="403"/>
                  </a:lnTo>
                  <a:lnTo>
                    <a:pt x="1348" y="422"/>
                  </a:lnTo>
                  <a:lnTo>
                    <a:pt x="1340" y="441"/>
                  </a:lnTo>
                  <a:lnTo>
                    <a:pt x="1329" y="460"/>
                  </a:lnTo>
                  <a:lnTo>
                    <a:pt x="1319" y="479"/>
                  </a:lnTo>
                  <a:lnTo>
                    <a:pt x="1302" y="506"/>
                  </a:lnTo>
                  <a:lnTo>
                    <a:pt x="1284" y="533"/>
                  </a:lnTo>
                  <a:lnTo>
                    <a:pt x="1265" y="558"/>
                  </a:lnTo>
                  <a:lnTo>
                    <a:pt x="1246" y="581"/>
                  </a:lnTo>
                  <a:lnTo>
                    <a:pt x="1226" y="603"/>
                  </a:lnTo>
                  <a:lnTo>
                    <a:pt x="1204" y="623"/>
                  </a:lnTo>
                  <a:lnTo>
                    <a:pt x="1180" y="644"/>
                  </a:lnTo>
                  <a:lnTo>
                    <a:pt x="1157" y="663"/>
                  </a:lnTo>
                  <a:lnTo>
                    <a:pt x="1132" y="680"/>
                  </a:lnTo>
                  <a:lnTo>
                    <a:pt x="1107" y="697"/>
                  </a:lnTo>
                  <a:lnTo>
                    <a:pt x="1081" y="711"/>
                  </a:lnTo>
                  <a:lnTo>
                    <a:pt x="1054" y="726"/>
                  </a:lnTo>
                  <a:lnTo>
                    <a:pt x="1028" y="737"/>
                  </a:lnTo>
                  <a:lnTo>
                    <a:pt x="1000" y="749"/>
                  </a:lnTo>
                  <a:lnTo>
                    <a:pt x="973" y="758"/>
                  </a:lnTo>
                  <a:lnTo>
                    <a:pt x="943" y="767"/>
                  </a:lnTo>
                  <a:lnTo>
                    <a:pt x="916" y="774"/>
                  </a:lnTo>
                  <a:lnTo>
                    <a:pt x="886" y="780"/>
                  </a:lnTo>
                  <a:lnTo>
                    <a:pt x="856" y="784"/>
                  </a:lnTo>
                  <a:lnTo>
                    <a:pt x="826" y="787"/>
                  </a:lnTo>
                  <a:lnTo>
                    <a:pt x="797" y="789"/>
                  </a:lnTo>
                  <a:lnTo>
                    <a:pt x="766" y="789"/>
                  </a:lnTo>
                  <a:lnTo>
                    <a:pt x="737" y="787"/>
                  </a:lnTo>
                  <a:lnTo>
                    <a:pt x="708" y="784"/>
                  </a:lnTo>
                  <a:lnTo>
                    <a:pt x="677" y="780"/>
                  </a:lnTo>
                  <a:lnTo>
                    <a:pt x="648" y="774"/>
                  </a:lnTo>
                  <a:lnTo>
                    <a:pt x="619" y="767"/>
                  </a:lnTo>
                  <a:lnTo>
                    <a:pt x="589" y="758"/>
                  </a:lnTo>
                  <a:lnTo>
                    <a:pt x="560" y="748"/>
                  </a:lnTo>
                  <a:lnTo>
                    <a:pt x="531" y="736"/>
                  </a:lnTo>
                  <a:lnTo>
                    <a:pt x="503" y="723"/>
                  </a:lnTo>
                  <a:lnTo>
                    <a:pt x="475" y="707"/>
                  </a:lnTo>
                  <a:lnTo>
                    <a:pt x="401" y="835"/>
                  </a:lnTo>
                </a:path>
              </a:pathLst>
            </a:custGeom>
            <a:solidFill>
              <a:srgbClr val="77A1C5"/>
            </a:solidFill>
            <a:ln w="1588">
              <a:solidFill>
                <a:srgbClr val="EAEAEA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923" name="Freeform 11">
              <a:extLst>
                <a:ext uri="{FF2B5EF4-FFF2-40B4-BE49-F238E27FC236}">
                  <a16:creationId xmlns:a16="http://schemas.microsoft.com/office/drawing/2014/main" id="{44D47889-1C89-7045-B78A-6E82B4651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3" y="1373"/>
              <a:ext cx="1135" cy="2355"/>
            </a:xfrm>
            <a:custGeom>
              <a:avLst/>
              <a:gdLst>
                <a:gd name="T0" fmla="*/ 1205 w 1312"/>
                <a:gd name="T1" fmla="*/ 683 h 2722"/>
                <a:gd name="T2" fmla="*/ 1246 w 1312"/>
                <a:gd name="T3" fmla="*/ 693 h 2722"/>
                <a:gd name="T4" fmla="*/ 1300 w 1312"/>
                <a:gd name="T5" fmla="*/ 663 h 2722"/>
                <a:gd name="T6" fmla="*/ 1309 w 1312"/>
                <a:gd name="T7" fmla="*/ 606 h 2722"/>
                <a:gd name="T8" fmla="*/ 1302 w 1312"/>
                <a:gd name="T9" fmla="*/ 595 h 2722"/>
                <a:gd name="T10" fmla="*/ 1235 w 1312"/>
                <a:gd name="T11" fmla="*/ 578 h 2722"/>
                <a:gd name="T12" fmla="*/ 1192 w 1312"/>
                <a:gd name="T13" fmla="*/ 609 h 2722"/>
                <a:gd name="T14" fmla="*/ 1176 w 1312"/>
                <a:gd name="T15" fmla="*/ 641 h 2722"/>
                <a:gd name="T16" fmla="*/ 1151 w 1312"/>
                <a:gd name="T17" fmla="*/ 639 h 2722"/>
                <a:gd name="T18" fmla="*/ 903 w 1312"/>
                <a:gd name="T19" fmla="*/ 221 h 2722"/>
                <a:gd name="T20" fmla="*/ 875 w 1312"/>
                <a:gd name="T21" fmla="*/ 227 h 2722"/>
                <a:gd name="T22" fmla="*/ 862 w 1312"/>
                <a:gd name="T23" fmla="*/ 263 h 2722"/>
                <a:gd name="T24" fmla="*/ 813 w 1312"/>
                <a:gd name="T25" fmla="*/ 297 h 2722"/>
                <a:gd name="T26" fmla="*/ 751 w 1312"/>
                <a:gd name="T27" fmla="*/ 274 h 2722"/>
                <a:gd name="T28" fmla="*/ 749 w 1312"/>
                <a:gd name="T29" fmla="*/ 272 h 2722"/>
                <a:gd name="T30" fmla="*/ 758 w 1312"/>
                <a:gd name="T31" fmla="*/ 205 h 2722"/>
                <a:gd name="T32" fmla="*/ 809 w 1312"/>
                <a:gd name="T33" fmla="*/ 179 h 2722"/>
                <a:gd name="T34" fmla="*/ 849 w 1312"/>
                <a:gd name="T35" fmla="*/ 183 h 2722"/>
                <a:gd name="T36" fmla="*/ 866 w 1312"/>
                <a:gd name="T37" fmla="*/ 161 h 2722"/>
                <a:gd name="T38" fmla="*/ 713 w 1312"/>
                <a:gd name="T39" fmla="*/ 43 h 2722"/>
                <a:gd name="T40" fmla="*/ 364 w 1312"/>
                <a:gd name="T41" fmla="*/ 353 h 2722"/>
                <a:gd name="T42" fmla="*/ 128 w 1312"/>
                <a:gd name="T43" fmla="*/ 740 h 2722"/>
                <a:gd name="T44" fmla="*/ 11 w 1312"/>
                <a:gd name="T45" fmla="*/ 1176 h 2722"/>
                <a:gd name="T46" fmla="*/ 22 w 1312"/>
                <a:gd name="T47" fmla="*/ 1629 h 2722"/>
                <a:gd name="T48" fmla="*/ 171 w 1312"/>
                <a:gd name="T49" fmla="*/ 2072 h 2722"/>
                <a:gd name="T50" fmla="*/ 362 w 1312"/>
                <a:gd name="T51" fmla="*/ 2362 h 2722"/>
                <a:gd name="T52" fmla="*/ 582 w 1312"/>
                <a:gd name="T53" fmla="*/ 2580 h 2722"/>
                <a:gd name="T54" fmla="*/ 881 w 1312"/>
                <a:gd name="T55" fmla="*/ 2568 h 2722"/>
                <a:gd name="T56" fmla="*/ 897 w 1312"/>
                <a:gd name="T57" fmla="*/ 2564 h 2722"/>
                <a:gd name="T58" fmla="*/ 917 w 1312"/>
                <a:gd name="T59" fmla="*/ 2580 h 2722"/>
                <a:gd name="T60" fmla="*/ 939 w 1312"/>
                <a:gd name="T61" fmla="*/ 2619 h 2722"/>
                <a:gd name="T62" fmla="*/ 1002 w 1312"/>
                <a:gd name="T63" fmla="*/ 2638 h 2722"/>
                <a:gd name="T64" fmla="*/ 1040 w 1312"/>
                <a:gd name="T65" fmla="*/ 2612 h 2722"/>
                <a:gd name="T66" fmla="*/ 1046 w 1312"/>
                <a:gd name="T67" fmla="*/ 2589 h 2722"/>
                <a:gd name="T68" fmla="*/ 1008 w 1312"/>
                <a:gd name="T69" fmla="*/ 2529 h 2722"/>
                <a:gd name="T70" fmla="*/ 961 w 1312"/>
                <a:gd name="T71" fmla="*/ 2521 h 2722"/>
                <a:gd name="T72" fmla="*/ 929 w 1312"/>
                <a:gd name="T73" fmla="*/ 2524 h 2722"/>
                <a:gd name="T74" fmla="*/ 917 w 1312"/>
                <a:gd name="T75" fmla="*/ 2505 h 2722"/>
                <a:gd name="T76" fmla="*/ 1151 w 1312"/>
                <a:gd name="T77" fmla="*/ 2061 h 2722"/>
                <a:gd name="T78" fmla="*/ 1115 w 1312"/>
                <a:gd name="T79" fmla="*/ 2064 h 2722"/>
                <a:gd name="T80" fmla="*/ 1066 w 1312"/>
                <a:gd name="T81" fmla="*/ 2043 h 2722"/>
                <a:gd name="T82" fmla="*/ 1049 w 1312"/>
                <a:gd name="T83" fmla="*/ 1976 h 2722"/>
                <a:gd name="T84" fmla="*/ 1055 w 1312"/>
                <a:gd name="T85" fmla="*/ 1964 h 2722"/>
                <a:gd name="T86" fmla="*/ 1107 w 1312"/>
                <a:gd name="T87" fmla="*/ 1942 h 2722"/>
                <a:gd name="T88" fmla="*/ 1162 w 1312"/>
                <a:gd name="T89" fmla="*/ 1974 h 2722"/>
                <a:gd name="T90" fmla="*/ 1175 w 1312"/>
                <a:gd name="T91" fmla="*/ 2015 h 2722"/>
                <a:gd name="T92" fmla="*/ 1268 w 1312"/>
                <a:gd name="T93" fmla="*/ 1900 h 2722"/>
                <a:gd name="T94" fmla="*/ 1080 w 1312"/>
                <a:gd name="T95" fmla="*/ 1740 h 2722"/>
                <a:gd name="T96" fmla="*/ 1004 w 1312"/>
                <a:gd name="T97" fmla="*/ 1612 h 2722"/>
                <a:gd name="T98" fmla="*/ 954 w 1312"/>
                <a:gd name="T99" fmla="*/ 1436 h 2722"/>
                <a:gd name="T100" fmla="*/ 958 w 1312"/>
                <a:gd name="T101" fmla="*/ 1258 h 2722"/>
                <a:gd name="T102" fmla="*/ 1011 w 1312"/>
                <a:gd name="T103" fmla="*/ 1088 h 2722"/>
                <a:gd name="T104" fmla="*/ 1112 w 1312"/>
                <a:gd name="T105" fmla="*/ 939 h 2722"/>
                <a:gd name="T106" fmla="*/ 1257 w 1312"/>
                <a:gd name="T107" fmla="*/ 824 h 2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12" h="2722">
                  <a:moveTo>
                    <a:pt x="1182" y="695"/>
                  </a:moveTo>
                  <a:lnTo>
                    <a:pt x="1188" y="689"/>
                  </a:lnTo>
                  <a:lnTo>
                    <a:pt x="1192" y="686"/>
                  </a:lnTo>
                  <a:lnTo>
                    <a:pt x="1197" y="683"/>
                  </a:lnTo>
                  <a:lnTo>
                    <a:pt x="1201" y="683"/>
                  </a:lnTo>
                  <a:lnTo>
                    <a:pt x="1205" y="683"/>
                  </a:lnTo>
                  <a:lnTo>
                    <a:pt x="1210" y="686"/>
                  </a:lnTo>
                  <a:lnTo>
                    <a:pt x="1217" y="689"/>
                  </a:lnTo>
                  <a:lnTo>
                    <a:pt x="1223" y="690"/>
                  </a:lnTo>
                  <a:lnTo>
                    <a:pt x="1232" y="692"/>
                  </a:lnTo>
                  <a:lnTo>
                    <a:pt x="1239" y="693"/>
                  </a:lnTo>
                  <a:lnTo>
                    <a:pt x="1246" y="693"/>
                  </a:lnTo>
                  <a:lnTo>
                    <a:pt x="1255" y="692"/>
                  </a:lnTo>
                  <a:lnTo>
                    <a:pt x="1262" y="690"/>
                  </a:lnTo>
                  <a:lnTo>
                    <a:pt x="1270" y="688"/>
                  </a:lnTo>
                  <a:lnTo>
                    <a:pt x="1281" y="680"/>
                  </a:lnTo>
                  <a:lnTo>
                    <a:pt x="1292" y="673"/>
                  </a:lnTo>
                  <a:lnTo>
                    <a:pt x="1300" y="663"/>
                  </a:lnTo>
                  <a:lnTo>
                    <a:pt x="1306" y="652"/>
                  </a:lnTo>
                  <a:lnTo>
                    <a:pt x="1311" y="641"/>
                  </a:lnTo>
                  <a:lnTo>
                    <a:pt x="1312" y="629"/>
                  </a:lnTo>
                  <a:lnTo>
                    <a:pt x="1312" y="617"/>
                  </a:lnTo>
                  <a:lnTo>
                    <a:pt x="1309" y="606"/>
                  </a:lnTo>
                  <a:lnTo>
                    <a:pt x="1308" y="606"/>
                  </a:lnTo>
                  <a:lnTo>
                    <a:pt x="1302" y="595"/>
                  </a:lnTo>
                  <a:lnTo>
                    <a:pt x="1293" y="587"/>
                  </a:lnTo>
                  <a:lnTo>
                    <a:pt x="1283" y="581"/>
                  </a:lnTo>
                  <a:lnTo>
                    <a:pt x="1271" y="576"/>
                  </a:lnTo>
                  <a:lnTo>
                    <a:pt x="1260" y="575"/>
                  </a:lnTo>
                  <a:lnTo>
                    <a:pt x="1248" y="575"/>
                  </a:lnTo>
                  <a:lnTo>
                    <a:pt x="1235" y="578"/>
                  </a:lnTo>
                  <a:lnTo>
                    <a:pt x="1222" y="582"/>
                  </a:lnTo>
                  <a:lnTo>
                    <a:pt x="1214" y="587"/>
                  </a:lnTo>
                  <a:lnTo>
                    <a:pt x="1208" y="591"/>
                  </a:lnTo>
                  <a:lnTo>
                    <a:pt x="1202" y="597"/>
                  </a:lnTo>
                  <a:lnTo>
                    <a:pt x="1197" y="603"/>
                  </a:lnTo>
                  <a:lnTo>
                    <a:pt x="1192" y="609"/>
                  </a:lnTo>
                  <a:lnTo>
                    <a:pt x="1188" y="616"/>
                  </a:lnTo>
                  <a:lnTo>
                    <a:pt x="1186" y="622"/>
                  </a:lnTo>
                  <a:lnTo>
                    <a:pt x="1183" y="629"/>
                  </a:lnTo>
                  <a:lnTo>
                    <a:pt x="1182" y="633"/>
                  </a:lnTo>
                  <a:lnTo>
                    <a:pt x="1179" y="638"/>
                  </a:lnTo>
                  <a:lnTo>
                    <a:pt x="1176" y="641"/>
                  </a:lnTo>
                  <a:lnTo>
                    <a:pt x="1172" y="642"/>
                  </a:lnTo>
                  <a:lnTo>
                    <a:pt x="1169" y="644"/>
                  </a:lnTo>
                  <a:lnTo>
                    <a:pt x="1163" y="644"/>
                  </a:lnTo>
                  <a:lnTo>
                    <a:pt x="1156" y="642"/>
                  </a:lnTo>
                  <a:lnTo>
                    <a:pt x="1151" y="639"/>
                  </a:lnTo>
                  <a:lnTo>
                    <a:pt x="1151" y="641"/>
                  </a:lnTo>
                  <a:lnTo>
                    <a:pt x="1036" y="440"/>
                  </a:lnTo>
                  <a:lnTo>
                    <a:pt x="996" y="372"/>
                  </a:lnTo>
                  <a:lnTo>
                    <a:pt x="907" y="218"/>
                  </a:lnTo>
                  <a:lnTo>
                    <a:pt x="904" y="220"/>
                  </a:lnTo>
                  <a:lnTo>
                    <a:pt x="903" y="221"/>
                  </a:lnTo>
                  <a:lnTo>
                    <a:pt x="897" y="218"/>
                  </a:lnTo>
                  <a:lnTo>
                    <a:pt x="891" y="218"/>
                  </a:lnTo>
                  <a:lnTo>
                    <a:pt x="885" y="220"/>
                  </a:lnTo>
                  <a:lnTo>
                    <a:pt x="881" y="221"/>
                  </a:lnTo>
                  <a:lnTo>
                    <a:pt x="878" y="223"/>
                  </a:lnTo>
                  <a:lnTo>
                    <a:pt x="875" y="227"/>
                  </a:lnTo>
                  <a:lnTo>
                    <a:pt x="872" y="230"/>
                  </a:lnTo>
                  <a:lnTo>
                    <a:pt x="871" y="236"/>
                  </a:lnTo>
                  <a:lnTo>
                    <a:pt x="871" y="243"/>
                  </a:lnTo>
                  <a:lnTo>
                    <a:pt x="868" y="250"/>
                  </a:lnTo>
                  <a:lnTo>
                    <a:pt x="865" y="256"/>
                  </a:lnTo>
                  <a:lnTo>
                    <a:pt x="862" y="263"/>
                  </a:lnTo>
                  <a:lnTo>
                    <a:pt x="857" y="269"/>
                  </a:lnTo>
                  <a:lnTo>
                    <a:pt x="851" y="277"/>
                  </a:lnTo>
                  <a:lnTo>
                    <a:pt x="846" y="281"/>
                  </a:lnTo>
                  <a:lnTo>
                    <a:pt x="838" y="287"/>
                  </a:lnTo>
                  <a:lnTo>
                    <a:pt x="827" y="293"/>
                  </a:lnTo>
                  <a:lnTo>
                    <a:pt x="813" y="297"/>
                  </a:lnTo>
                  <a:lnTo>
                    <a:pt x="802" y="299"/>
                  </a:lnTo>
                  <a:lnTo>
                    <a:pt x="790" y="297"/>
                  </a:lnTo>
                  <a:lnTo>
                    <a:pt x="778" y="294"/>
                  </a:lnTo>
                  <a:lnTo>
                    <a:pt x="767" y="290"/>
                  </a:lnTo>
                  <a:lnTo>
                    <a:pt x="758" y="282"/>
                  </a:lnTo>
                  <a:lnTo>
                    <a:pt x="751" y="274"/>
                  </a:lnTo>
                  <a:lnTo>
                    <a:pt x="749" y="274"/>
                  </a:lnTo>
                  <a:lnTo>
                    <a:pt x="749" y="272"/>
                  </a:lnTo>
                  <a:lnTo>
                    <a:pt x="745" y="262"/>
                  </a:lnTo>
                  <a:lnTo>
                    <a:pt x="743" y="250"/>
                  </a:lnTo>
                  <a:lnTo>
                    <a:pt x="743" y="239"/>
                  </a:lnTo>
                  <a:lnTo>
                    <a:pt x="746" y="227"/>
                  </a:lnTo>
                  <a:lnTo>
                    <a:pt x="751" y="215"/>
                  </a:lnTo>
                  <a:lnTo>
                    <a:pt x="758" y="205"/>
                  </a:lnTo>
                  <a:lnTo>
                    <a:pt x="767" y="196"/>
                  </a:lnTo>
                  <a:lnTo>
                    <a:pt x="778" y="187"/>
                  </a:lnTo>
                  <a:lnTo>
                    <a:pt x="786" y="185"/>
                  </a:lnTo>
                  <a:lnTo>
                    <a:pt x="793" y="182"/>
                  </a:lnTo>
                  <a:lnTo>
                    <a:pt x="802" y="179"/>
                  </a:lnTo>
                  <a:lnTo>
                    <a:pt x="809" y="179"/>
                  </a:lnTo>
                  <a:lnTo>
                    <a:pt x="816" y="177"/>
                  </a:lnTo>
                  <a:lnTo>
                    <a:pt x="824" y="179"/>
                  </a:lnTo>
                  <a:lnTo>
                    <a:pt x="831" y="180"/>
                  </a:lnTo>
                  <a:lnTo>
                    <a:pt x="838" y="182"/>
                  </a:lnTo>
                  <a:lnTo>
                    <a:pt x="844" y="183"/>
                  </a:lnTo>
                  <a:lnTo>
                    <a:pt x="849" y="183"/>
                  </a:lnTo>
                  <a:lnTo>
                    <a:pt x="853" y="183"/>
                  </a:lnTo>
                  <a:lnTo>
                    <a:pt x="856" y="180"/>
                  </a:lnTo>
                  <a:lnTo>
                    <a:pt x="859" y="177"/>
                  </a:lnTo>
                  <a:lnTo>
                    <a:pt x="863" y="173"/>
                  </a:lnTo>
                  <a:lnTo>
                    <a:pt x="865" y="167"/>
                  </a:lnTo>
                  <a:lnTo>
                    <a:pt x="866" y="161"/>
                  </a:lnTo>
                  <a:lnTo>
                    <a:pt x="865" y="160"/>
                  </a:lnTo>
                  <a:lnTo>
                    <a:pt x="865" y="158"/>
                  </a:lnTo>
                  <a:lnTo>
                    <a:pt x="868" y="157"/>
                  </a:lnTo>
                  <a:lnTo>
                    <a:pt x="871" y="155"/>
                  </a:lnTo>
                  <a:lnTo>
                    <a:pt x="781" y="0"/>
                  </a:lnTo>
                  <a:lnTo>
                    <a:pt x="713" y="43"/>
                  </a:lnTo>
                  <a:lnTo>
                    <a:pt x="647" y="88"/>
                  </a:lnTo>
                  <a:lnTo>
                    <a:pt x="584" y="136"/>
                  </a:lnTo>
                  <a:lnTo>
                    <a:pt x="525" y="186"/>
                  </a:lnTo>
                  <a:lnTo>
                    <a:pt x="468" y="240"/>
                  </a:lnTo>
                  <a:lnTo>
                    <a:pt x="414" y="296"/>
                  </a:lnTo>
                  <a:lnTo>
                    <a:pt x="364" y="353"/>
                  </a:lnTo>
                  <a:lnTo>
                    <a:pt x="316" y="413"/>
                  </a:lnTo>
                  <a:lnTo>
                    <a:pt x="272" y="476"/>
                  </a:lnTo>
                  <a:lnTo>
                    <a:pt x="231" y="538"/>
                  </a:lnTo>
                  <a:lnTo>
                    <a:pt x="193" y="604"/>
                  </a:lnTo>
                  <a:lnTo>
                    <a:pt x="158" y="671"/>
                  </a:lnTo>
                  <a:lnTo>
                    <a:pt x="128" y="740"/>
                  </a:lnTo>
                  <a:lnTo>
                    <a:pt x="100" y="810"/>
                  </a:lnTo>
                  <a:lnTo>
                    <a:pt x="75" y="882"/>
                  </a:lnTo>
                  <a:lnTo>
                    <a:pt x="53" y="954"/>
                  </a:lnTo>
                  <a:lnTo>
                    <a:pt x="35" y="1027"/>
                  </a:lnTo>
                  <a:lnTo>
                    <a:pt x="22" y="1101"/>
                  </a:lnTo>
                  <a:lnTo>
                    <a:pt x="11" y="1176"/>
                  </a:lnTo>
                  <a:lnTo>
                    <a:pt x="3" y="1251"/>
                  </a:lnTo>
                  <a:lnTo>
                    <a:pt x="0" y="1327"/>
                  </a:lnTo>
                  <a:lnTo>
                    <a:pt x="0" y="1403"/>
                  </a:lnTo>
                  <a:lnTo>
                    <a:pt x="5" y="1479"/>
                  </a:lnTo>
                  <a:lnTo>
                    <a:pt x="12" y="1555"/>
                  </a:lnTo>
                  <a:lnTo>
                    <a:pt x="22" y="1629"/>
                  </a:lnTo>
                  <a:lnTo>
                    <a:pt x="38" y="1705"/>
                  </a:lnTo>
                  <a:lnTo>
                    <a:pt x="57" y="1780"/>
                  </a:lnTo>
                  <a:lnTo>
                    <a:pt x="79" y="1854"/>
                  </a:lnTo>
                  <a:lnTo>
                    <a:pt x="106" y="1928"/>
                  </a:lnTo>
                  <a:lnTo>
                    <a:pt x="136" y="2001"/>
                  </a:lnTo>
                  <a:lnTo>
                    <a:pt x="171" y="2072"/>
                  </a:lnTo>
                  <a:lnTo>
                    <a:pt x="209" y="2144"/>
                  </a:lnTo>
                  <a:lnTo>
                    <a:pt x="237" y="2189"/>
                  </a:lnTo>
                  <a:lnTo>
                    <a:pt x="266" y="2235"/>
                  </a:lnTo>
                  <a:lnTo>
                    <a:pt x="297" y="2279"/>
                  </a:lnTo>
                  <a:lnTo>
                    <a:pt x="328" y="2321"/>
                  </a:lnTo>
                  <a:lnTo>
                    <a:pt x="362" y="2362"/>
                  </a:lnTo>
                  <a:lnTo>
                    <a:pt x="395" y="2401"/>
                  </a:lnTo>
                  <a:lnTo>
                    <a:pt x="430" y="2439"/>
                  </a:lnTo>
                  <a:lnTo>
                    <a:pt x="467" y="2476"/>
                  </a:lnTo>
                  <a:lnTo>
                    <a:pt x="505" y="2512"/>
                  </a:lnTo>
                  <a:lnTo>
                    <a:pt x="543" y="2546"/>
                  </a:lnTo>
                  <a:lnTo>
                    <a:pt x="582" y="2580"/>
                  </a:lnTo>
                  <a:lnTo>
                    <a:pt x="623" y="2610"/>
                  </a:lnTo>
                  <a:lnTo>
                    <a:pt x="664" y="2641"/>
                  </a:lnTo>
                  <a:lnTo>
                    <a:pt x="707" y="2669"/>
                  </a:lnTo>
                  <a:lnTo>
                    <a:pt x="749" y="2697"/>
                  </a:lnTo>
                  <a:lnTo>
                    <a:pt x="793" y="2722"/>
                  </a:lnTo>
                  <a:lnTo>
                    <a:pt x="881" y="2568"/>
                  </a:lnTo>
                  <a:lnTo>
                    <a:pt x="882" y="2570"/>
                  </a:lnTo>
                  <a:lnTo>
                    <a:pt x="884" y="2570"/>
                  </a:lnTo>
                  <a:lnTo>
                    <a:pt x="885" y="2568"/>
                  </a:lnTo>
                  <a:lnTo>
                    <a:pt x="891" y="2565"/>
                  </a:lnTo>
                  <a:lnTo>
                    <a:pt x="897" y="2564"/>
                  </a:lnTo>
                  <a:lnTo>
                    <a:pt x="903" y="2565"/>
                  </a:lnTo>
                  <a:lnTo>
                    <a:pt x="907" y="2567"/>
                  </a:lnTo>
                  <a:lnTo>
                    <a:pt x="910" y="2568"/>
                  </a:lnTo>
                  <a:lnTo>
                    <a:pt x="913" y="2571"/>
                  </a:lnTo>
                  <a:lnTo>
                    <a:pt x="916" y="2575"/>
                  </a:lnTo>
                  <a:lnTo>
                    <a:pt x="917" y="2580"/>
                  </a:lnTo>
                  <a:lnTo>
                    <a:pt x="919" y="2587"/>
                  </a:lnTo>
                  <a:lnTo>
                    <a:pt x="922" y="2594"/>
                  </a:lnTo>
                  <a:lnTo>
                    <a:pt x="925" y="2602"/>
                  </a:lnTo>
                  <a:lnTo>
                    <a:pt x="929" y="2608"/>
                  </a:lnTo>
                  <a:lnTo>
                    <a:pt x="933" y="2615"/>
                  </a:lnTo>
                  <a:lnTo>
                    <a:pt x="939" y="2619"/>
                  </a:lnTo>
                  <a:lnTo>
                    <a:pt x="945" y="2625"/>
                  </a:lnTo>
                  <a:lnTo>
                    <a:pt x="952" y="2629"/>
                  </a:lnTo>
                  <a:lnTo>
                    <a:pt x="964" y="2635"/>
                  </a:lnTo>
                  <a:lnTo>
                    <a:pt x="977" y="2638"/>
                  </a:lnTo>
                  <a:lnTo>
                    <a:pt x="989" y="2640"/>
                  </a:lnTo>
                  <a:lnTo>
                    <a:pt x="1002" y="2638"/>
                  </a:lnTo>
                  <a:lnTo>
                    <a:pt x="1014" y="2635"/>
                  </a:lnTo>
                  <a:lnTo>
                    <a:pt x="1024" y="2629"/>
                  </a:lnTo>
                  <a:lnTo>
                    <a:pt x="1033" y="2622"/>
                  </a:lnTo>
                  <a:lnTo>
                    <a:pt x="1040" y="2612"/>
                  </a:lnTo>
                  <a:lnTo>
                    <a:pt x="1045" y="2600"/>
                  </a:lnTo>
                  <a:lnTo>
                    <a:pt x="1046" y="2589"/>
                  </a:lnTo>
                  <a:lnTo>
                    <a:pt x="1045" y="2577"/>
                  </a:lnTo>
                  <a:lnTo>
                    <a:pt x="1042" y="2565"/>
                  </a:lnTo>
                  <a:lnTo>
                    <a:pt x="1036" y="2555"/>
                  </a:lnTo>
                  <a:lnTo>
                    <a:pt x="1028" y="2545"/>
                  </a:lnTo>
                  <a:lnTo>
                    <a:pt x="1018" y="2536"/>
                  </a:lnTo>
                  <a:lnTo>
                    <a:pt x="1008" y="2529"/>
                  </a:lnTo>
                  <a:lnTo>
                    <a:pt x="999" y="2524"/>
                  </a:lnTo>
                  <a:lnTo>
                    <a:pt x="992" y="2523"/>
                  </a:lnTo>
                  <a:lnTo>
                    <a:pt x="985" y="2521"/>
                  </a:lnTo>
                  <a:lnTo>
                    <a:pt x="976" y="2520"/>
                  </a:lnTo>
                  <a:lnTo>
                    <a:pt x="968" y="2520"/>
                  </a:lnTo>
                  <a:lnTo>
                    <a:pt x="961" y="2521"/>
                  </a:lnTo>
                  <a:lnTo>
                    <a:pt x="954" y="2523"/>
                  </a:lnTo>
                  <a:lnTo>
                    <a:pt x="947" y="2526"/>
                  </a:lnTo>
                  <a:lnTo>
                    <a:pt x="942" y="2527"/>
                  </a:lnTo>
                  <a:lnTo>
                    <a:pt x="938" y="2527"/>
                  </a:lnTo>
                  <a:lnTo>
                    <a:pt x="933" y="2527"/>
                  </a:lnTo>
                  <a:lnTo>
                    <a:pt x="929" y="2524"/>
                  </a:lnTo>
                  <a:lnTo>
                    <a:pt x="926" y="2521"/>
                  </a:lnTo>
                  <a:lnTo>
                    <a:pt x="923" y="2517"/>
                  </a:lnTo>
                  <a:lnTo>
                    <a:pt x="920" y="2511"/>
                  </a:lnTo>
                  <a:lnTo>
                    <a:pt x="919" y="2505"/>
                  </a:lnTo>
                  <a:lnTo>
                    <a:pt x="917" y="2505"/>
                  </a:lnTo>
                  <a:lnTo>
                    <a:pt x="1163" y="2081"/>
                  </a:lnTo>
                  <a:lnTo>
                    <a:pt x="1163" y="2077"/>
                  </a:lnTo>
                  <a:lnTo>
                    <a:pt x="1160" y="2071"/>
                  </a:lnTo>
                  <a:lnTo>
                    <a:pt x="1157" y="2066"/>
                  </a:lnTo>
                  <a:lnTo>
                    <a:pt x="1154" y="2064"/>
                  </a:lnTo>
                  <a:lnTo>
                    <a:pt x="1151" y="2061"/>
                  </a:lnTo>
                  <a:lnTo>
                    <a:pt x="1147" y="2061"/>
                  </a:lnTo>
                  <a:lnTo>
                    <a:pt x="1143" y="2059"/>
                  </a:lnTo>
                  <a:lnTo>
                    <a:pt x="1137" y="2061"/>
                  </a:lnTo>
                  <a:lnTo>
                    <a:pt x="1131" y="2062"/>
                  </a:lnTo>
                  <a:lnTo>
                    <a:pt x="1122" y="2064"/>
                  </a:lnTo>
                  <a:lnTo>
                    <a:pt x="1115" y="2064"/>
                  </a:lnTo>
                  <a:lnTo>
                    <a:pt x="1107" y="2062"/>
                  </a:lnTo>
                  <a:lnTo>
                    <a:pt x="1100" y="2061"/>
                  </a:lnTo>
                  <a:lnTo>
                    <a:pt x="1091" y="2059"/>
                  </a:lnTo>
                  <a:lnTo>
                    <a:pt x="1084" y="2055"/>
                  </a:lnTo>
                  <a:lnTo>
                    <a:pt x="1077" y="2050"/>
                  </a:lnTo>
                  <a:lnTo>
                    <a:pt x="1066" y="2043"/>
                  </a:lnTo>
                  <a:lnTo>
                    <a:pt x="1059" y="2033"/>
                  </a:lnTo>
                  <a:lnTo>
                    <a:pt x="1052" y="2021"/>
                  </a:lnTo>
                  <a:lnTo>
                    <a:pt x="1047" y="2011"/>
                  </a:lnTo>
                  <a:lnTo>
                    <a:pt x="1046" y="1999"/>
                  </a:lnTo>
                  <a:lnTo>
                    <a:pt x="1046" y="1986"/>
                  </a:lnTo>
                  <a:lnTo>
                    <a:pt x="1049" y="1976"/>
                  </a:lnTo>
                  <a:lnTo>
                    <a:pt x="1055" y="1964"/>
                  </a:lnTo>
                  <a:lnTo>
                    <a:pt x="1064" y="1955"/>
                  </a:lnTo>
                  <a:lnTo>
                    <a:pt x="1072" y="1948"/>
                  </a:lnTo>
                  <a:lnTo>
                    <a:pt x="1084" y="1945"/>
                  </a:lnTo>
                  <a:lnTo>
                    <a:pt x="1096" y="1942"/>
                  </a:lnTo>
                  <a:lnTo>
                    <a:pt x="1107" y="1942"/>
                  </a:lnTo>
                  <a:lnTo>
                    <a:pt x="1121" y="1945"/>
                  </a:lnTo>
                  <a:lnTo>
                    <a:pt x="1132" y="1949"/>
                  </a:lnTo>
                  <a:lnTo>
                    <a:pt x="1144" y="1957"/>
                  </a:lnTo>
                  <a:lnTo>
                    <a:pt x="1150" y="1961"/>
                  </a:lnTo>
                  <a:lnTo>
                    <a:pt x="1156" y="1969"/>
                  </a:lnTo>
                  <a:lnTo>
                    <a:pt x="1162" y="1974"/>
                  </a:lnTo>
                  <a:lnTo>
                    <a:pt x="1164" y="1980"/>
                  </a:lnTo>
                  <a:lnTo>
                    <a:pt x="1169" y="1988"/>
                  </a:lnTo>
                  <a:lnTo>
                    <a:pt x="1170" y="1995"/>
                  </a:lnTo>
                  <a:lnTo>
                    <a:pt x="1172" y="2002"/>
                  </a:lnTo>
                  <a:lnTo>
                    <a:pt x="1173" y="2009"/>
                  </a:lnTo>
                  <a:lnTo>
                    <a:pt x="1175" y="2015"/>
                  </a:lnTo>
                  <a:lnTo>
                    <a:pt x="1176" y="2020"/>
                  </a:lnTo>
                  <a:lnTo>
                    <a:pt x="1178" y="2023"/>
                  </a:lnTo>
                  <a:lnTo>
                    <a:pt x="1182" y="2026"/>
                  </a:lnTo>
                  <a:lnTo>
                    <a:pt x="1186" y="2027"/>
                  </a:lnTo>
                  <a:lnTo>
                    <a:pt x="1194" y="2028"/>
                  </a:lnTo>
                  <a:lnTo>
                    <a:pt x="1268" y="1900"/>
                  </a:lnTo>
                  <a:lnTo>
                    <a:pt x="1233" y="1879"/>
                  </a:lnTo>
                  <a:lnTo>
                    <a:pt x="1200" y="1856"/>
                  </a:lnTo>
                  <a:lnTo>
                    <a:pt x="1167" y="1830"/>
                  </a:lnTo>
                  <a:lnTo>
                    <a:pt x="1137" y="1802"/>
                  </a:lnTo>
                  <a:lnTo>
                    <a:pt x="1107" y="1773"/>
                  </a:lnTo>
                  <a:lnTo>
                    <a:pt x="1080" y="1740"/>
                  </a:lnTo>
                  <a:lnTo>
                    <a:pt x="1068" y="1723"/>
                  </a:lnTo>
                  <a:lnTo>
                    <a:pt x="1055" y="1705"/>
                  </a:lnTo>
                  <a:lnTo>
                    <a:pt x="1043" y="1688"/>
                  </a:lnTo>
                  <a:lnTo>
                    <a:pt x="1031" y="1669"/>
                  </a:lnTo>
                  <a:lnTo>
                    <a:pt x="1017" y="1641"/>
                  </a:lnTo>
                  <a:lnTo>
                    <a:pt x="1004" y="1612"/>
                  </a:lnTo>
                  <a:lnTo>
                    <a:pt x="992" y="1584"/>
                  </a:lnTo>
                  <a:lnTo>
                    <a:pt x="980" y="1555"/>
                  </a:lnTo>
                  <a:lnTo>
                    <a:pt x="971" y="1525"/>
                  </a:lnTo>
                  <a:lnTo>
                    <a:pt x="964" y="1496"/>
                  </a:lnTo>
                  <a:lnTo>
                    <a:pt x="958" y="1465"/>
                  </a:lnTo>
                  <a:lnTo>
                    <a:pt x="954" y="1436"/>
                  </a:lnTo>
                  <a:lnTo>
                    <a:pt x="951" y="1407"/>
                  </a:lnTo>
                  <a:lnTo>
                    <a:pt x="949" y="1376"/>
                  </a:lnTo>
                  <a:lnTo>
                    <a:pt x="949" y="1347"/>
                  </a:lnTo>
                  <a:lnTo>
                    <a:pt x="951" y="1316"/>
                  </a:lnTo>
                  <a:lnTo>
                    <a:pt x="954" y="1287"/>
                  </a:lnTo>
                  <a:lnTo>
                    <a:pt x="958" y="1258"/>
                  </a:lnTo>
                  <a:lnTo>
                    <a:pt x="963" y="1229"/>
                  </a:lnTo>
                  <a:lnTo>
                    <a:pt x="970" y="1199"/>
                  </a:lnTo>
                  <a:lnTo>
                    <a:pt x="979" y="1172"/>
                  </a:lnTo>
                  <a:lnTo>
                    <a:pt x="988" y="1142"/>
                  </a:lnTo>
                  <a:lnTo>
                    <a:pt x="999" y="1116"/>
                  </a:lnTo>
                  <a:lnTo>
                    <a:pt x="1011" y="1088"/>
                  </a:lnTo>
                  <a:lnTo>
                    <a:pt x="1026" y="1062"/>
                  </a:lnTo>
                  <a:lnTo>
                    <a:pt x="1040" y="1036"/>
                  </a:lnTo>
                  <a:lnTo>
                    <a:pt x="1056" y="1011"/>
                  </a:lnTo>
                  <a:lnTo>
                    <a:pt x="1074" y="986"/>
                  </a:lnTo>
                  <a:lnTo>
                    <a:pt x="1093" y="962"/>
                  </a:lnTo>
                  <a:lnTo>
                    <a:pt x="1112" y="939"/>
                  </a:lnTo>
                  <a:lnTo>
                    <a:pt x="1134" y="917"/>
                  </a:lnTo>
                  <a:lnTo>
                    <a:pt x="1156" y="897"/>
                  </a:lnTo>
                  <a:lnTo>
                    <a:pt x="1179" y="876"/>
                  </a:lnTo>
                  <a:lnTo>
                    <a:pt x="1204" y="857"/>
                  </a:lnTo>
                  <a:lnTo>
                    <a:pt x="1229" y="840"/>
                  </a:lnTo>
                  <a:lnTo>
                    <a:pt x="1257" y="824"/>
                  </a:lnTo>
                  <a:lnTo>
                    <a:pt x="1182" y="695"/>
                  </a:lnTo>
                </a:path>
              </a:pathLst>
            </a:custGeom>
            <a:solidFill>
              <a:srgbClr val="447DA8"/>
            </a:solidFill>
            <a:ln w="1588">
              <a:solidFill>
                <a:srgbClr val="EAEAEA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38924" name="Rectangle 12">
            <a:extLst>
              <a:ext uri="{FF2B5EF4-FFF2-40B4-BE49-F238E27FC236}">
                <a16:creationId xmlns:a16="http://schemas.microsoft.com/office/drawing/2014/main" id="{F5DD08A2-80F2-6044-B95B-9A2A4BF119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5988" y="3573463"/>
            <a:ext cx="1584325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r>
              <a:rPr lang="de-DE" altLang="de-DE" sz="1600" b="1">
                <a:solidFill>
                  <a:schemeClr val="bg1"/>
                </a:solidFill>
              </a:rPr>
              <a:t>Analysieren </a:t>
            </a:r>
          </a:p>
          <a:p>
            <a:pPr algn="ctr"/>
            <a:r>
              <a:rPr lang="de-DE" altLang="de-DE" sz="1600" b="1">
                <a:solidFill>
                  <a:schemeClr val="bg1"/>
                </a:solidFill>
              </a:rPr>
              <a:t>Bewerten</a:t>
            </a:r>
          </a:p>
          <a:p>
            <a:pPr algn="ctr"/>
            <a:r>
              <a:rPr lang="de-DE" altLang="de-DE" sz="1600" b="1">
                <a:solidFill>
                  <a:schemeClr val="bg1"/>
                </a:solidFill>
              </a:rPr>
              <a:t>      Empfehlen</a:t>
            </a:r>
            <a:endParaRPr lang="de-DE" altLang="de-DE" sz="1600">
              <a:solidFill>
                <a:schemeClr val="bg1"/>
              </a:solidFill>
            </a:endParaRPr>
          </a:p>
        </p:txBody>
      </p:sp>
      <p:sp>
        <p:nvSpPr>
          <p:cNvPr id="38925" name="Rectangle 13">
            <a:extLst>
              <a:ext uri="{FF2B5EF4-FFF2-40B4-BE49-F238E27FC236}">
                <a16:creationId xmlns:a16="http://schemas.microsoft.com/office/drawing/2014/main" id="{02D82B6C-A8CD-1241-9174-7B3CB7F749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04025" y="4724400"/>
            <a:ext cx="1439863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r>
              <a:rPr lang="de-DE" altLang="de-DE" sz="1600" b="1">
                <a:solidFill>
                  <a:schemeClr val="bg1"/>
                </a:solidFill>
              </a:rPr>
              <a:t>Beraten und</a:t>
            </a:r>
            <a:br>
              <a:rPr lang="de-DE" altLang="de-DE" sz="1600" b="1">
                <a:solidFill>
                  <a:schemeClr val="bg1"/>
                </a:solidFill>
              </a:rPr>
            </a:br>
            <a:r>
              <a:rPr lang="de-DE" altLang="de-DE" sz="1600" b="1">
                <a:solidFill>
                  <a:schemeClr val="bg1"/>
                </a:solidFill>
              </a:rPr>
              <a:t>Aufklären</a:t>
            </a:r>
            <a:endParaRPr lang="de-DE" altLang="de-DE" sz="1600">
              <a:solidFill>
                <a:schemeClr val="bg1"/>
              </a:solidFill>
            </a:endParaRPr>
          </a:p>
        </p:txBody>
      </p:sp>
      <p:sp>
        <p:nvSpPr>
          <p:cNvPr id="38926" name="Rectangle 14">
            <a:extLst>
              <a:ext uri="{FF2B5EF4-FFF2-40B4-BE49-F238E27FC236}">
                <a16:creationId xmlns:a16="http://schemas.microsoft.com/office/drawing/2014/main" id="{8C3B5667-2FF6-8448-A4AD-4A15C8E180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04025" y="2492375"/>
            <a:ext cx="1439863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r>
              <a:rPr lang="de-DE" altLang="de-DE" sz="1600" b="1">
                <a:solidFill>
                  <a:schemeClr val="bg1"/>
                </a:solidFill>
              </a:rPr>
              <a:t>Würdigen</a:t>
            </a:r>
            <a:br>
              <a:rPr lang="de-DE" altLang="de-DE" sz="1600" b="1">
                <a:solidFill>
                  <a:schemeClr val="bg1"/>
                </a:solidFill>
              </a:rPr>
            </a:br>
            <a:r>
              <a:rPr lang="de-DE" altLang="de-DE" sz="1600" b="1">
                <a:solidFill>
                  <a:schemeClr val="bg1"/>
                </a:solidFill>
              </a:rPr>
              <a:t>Stimulieren</a:t>
            </a:r>
            <a:endParaRPr lang="de-DE" altLang="de-DE" sz="1600">
              <a:solidFill>
                <a:schemeClr val="bg1"/>
              </a:solidFill>
            </a:endParaRPr>
          </a:p>
        </p:txBody>
      </p:sp>
      <p:sp>
        <p:nvSpPr>
          <p:cNvPr id="38927" name="Rectangle 15">
            <a:extLst>
              <a:ext uri="{FF2B5EF4-FFF2-40B4-BE49-F238E27FC236}">
                <a16:creationId xmlns:a16="http://schemas.microsoft.com/office/drawing/2014/main" id="{42663B38-8741-E342-8523-855F9F41D6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68913" y="5805488"/>
            <a:ext cx="3695700" cy="65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lvl="1" algn="ctr">
              <a:lnSpc>
                <a:spcPts val="2200"/>
              </a:lnSpc>
              <a:spcBef>
                <a:spcPct val="50000"/>
              </a:spcBef>
              <a:buClr>
                <a:schemeClr val="tx1"/>
              </a:buClr>
            </a:pPr>
            <a:r>
              <a:rPr lang="de-DE" altLang="de-DE" sz="1600" b="1">
                <a:solidFill>
                  <a:srgbClr val="4A6779"/>
                </a:solidFill>
              </a:rPr>
              <a:t>Gespräche mit Journalisten und Politikern</a:t>
            </a:r>
          </a:p>
        </p:txBody>
      </p:sp>
      <p:sp>
        <p:nvSpPr>
          <p:cNvPr id="38928" name="Rectangle 16">
            <a:extLst>
              <a:ext uri="{FF2B5EF4-FFF2-40B4-BE49-F238E27FC236}">
                <a16:creationId xmlns:a16="http://schemas.microsoft.com/office/drawing/2014/main" id="{340AAA64-F3ED-304E-9216-6840B18B55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1863" y="1412875"/>
            <a:ext cx="2736850" cy="65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lvl="1" algn="ctr">
              <a:lnSpc>
                <a:spcPts val="2200"/>
              </a:lnSpc>
              <a:spcBef>
                <a:spcPct val="50000"/>
              </a:spcBef>
              <a:buClr>
                <a:schemeClr val="tx1"/>
              </a:buClr>
            </a:pPr>
            <a:r>
              <a:rPr lang="de-DE" altLang="de-DE" sz="1600" b="1">
                <a:solidFill>
                  <a:srgbClr val="4A6779"/>
                </a:solidFill>
              </a:rPr>
              <a:t>Medienpreis Bildung, Fachtagungen </a:t>
            </a:r>
          </a:p>
        </p:txBody>
      </p:sp>
      <p:sp>
        <p:nvSpPr>
          <p:cNvPr id="38929" name="Rectangle 17">
            <a:extLst>
              <a:ext uri="{FF2B5EF4-FFF2-40B4-BE49-F238E27FC236}">
                <a16:creationId xmlns:a16="http://schemas.microsoft.com/office/drawing/2014/main" id="{E556AE96-FD4C-F240-ADA5-DAE419AA2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1775" y="2997200"/>
            <a:ext cx="2462213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lvl="1" algn="ctr">
              <a:lnSpc>
                <a:spcPts val="2200"/>
              </a:lnSpc>
              <a:spcBef>
                <a:spcPct val="50000"/>
              </a:spcBef>
              <a:buClr>
                <a:schemeClr val="tx1"/>
              </a:buClr>
            </a:pPr>
            <a:r>
              <a:rPr lang="de-DE" altLang="de-DE" sz="1600" b="1">
                <a:solidFill>
                  <a:srgbClr val="4A6779"/>
                </a:solidFill>
              </a:rPr>
              <a:t>Jahresgutachten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ußzeilenplatzhalter 3">
            <a:extLst>
              <a:ext uri="{FF2B5EF4-FFF2-40B4-BE49-F238E27FC236}">
                <a16:creationId xmlns:a16="http://schemas.microsoft.com/office/drawing/2014/main" id="{1000914C-2B1F-644A-A220-7351069B58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30" name="Foliennummernplatzhalter 4">
            <a:extLst>
              <a:ext uri="{FF2B5EF4-FFF2-40B4-BE49-F238E27FC236}">
                <a16:creationId xmlns:a16="http://schemas.microsoft.com/office/drawing/2014/main" id="{ECDDFF68-5173-5F41-B4C7-2D9088FA72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88E3188-83DA-8A42-9FD2-87DB16E642AC}" type="slidenum">
              <a:rPr lang="de-DE" altLang="de-DE"/>
              <a:pPr/>
              <a:t>20</a:t>
            </a:fld>
            <a:endParaRPr lang="de-DE" altLang="de-DE"/>
          </a:p>
        </p:txBody>
      </p:sp>
      <p:sp>
        <p:nvSpPr>
          <p:cNvPr id="45058" name="Rectangle 2">
            <a:extLst>
              <a:ext uri="{FF2B5EF4-FFF2-40B4-BE49-F238E27FC236}">
                <a16:creationId xmlns:a16="http://schemas.microsoft.com/office/drawing/2014/main" id="{1F518BB9-8D99-1E40-9C26-0FCAAB3492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22263" y="44450"/>
            <a:ext cx="7418387" cy="720725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de-DE" altLang="de-DE" b="1"/>
              <a:t>Wir werden weniger. Aber Studentenhoch!</a:t>
            </a:r>
          </a:p>
        </p:txBody>
      </p:sp>
      <p:graphicFrame>
        <p:nvGraphicFramePr>
          <p:cNvPr id="45059" name="Object 3">
            <a:extLst>
              <a:ext uri="{FF2B5EF4-FFF2-40B4-BE49-F238E27FC236}">
                <a16:creationId xmlns:a16="http://schemas.microsoft.com/office/drawing/2014/main" id="{5C7CFD43-4890-7A4B-8A03-3A85F947BE36}"/>
              </a:ext>
            </a:extLst>
          </p:cNvPr>
          <p:cNvGraphicFramePr>
            <a:graphicFrameLocks noChangeAspect="1"/>
          </p:cNvGraphicFramePr>
          <p:nvPr>
            <p:ph idx="1"/>
          </p:nvPr>
        </p:nvGraphicFramePr>
        <p:xfrm>
          <a:off x="0" y="692150"/>
          <a:ext cx="9023350" cy="554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8" name="Diagramm" r:id="rId6" imgW="6502400" imgH="3352800" progId="Excel.Chart.8">
                  <p:embed/>
                </p:oleObj>
              </mc:Choice>
              <mc:Fallback>
                <p:oleObj name="Diagramm" r:id="rId6" imgW="6502400" imgH="3352800" progId="Excel.Chart.8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92150"/>
                        <a:ext cx="9023350" cy="55451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60" name="Oval 4">
            <a:extLst>
              <a:ext uri="{FF2B5EF4-FFF2-40B4-BE49-F238E27FC236}">
                <a16:creationId xmlns:a16="http://schemas.microsoft.com/office/drawing/2014/main" id="{FCD5CBCD-458B-F349-AC86-99E5B2129E1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067175" y="3357563"/>
            <a:ext cx="1584325" cy="1368425"/>
          </a:xfrm>
          <a:prstGeom prst="ellipse">
            <a:avLst/>
          </a:prstGeom>
          <a:noFill/>
          <a:ln w="38100">
            <a:solidFill>
              <a:srgbClr val="FF5050"/>
            </a:solidFill>
            <a:round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5050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endParaRPr lang="de-DE" altLang="de-DE"/>
          </a:p>
        </p:txBody>
      </p:sp>
      <p:sp>
        <p:nvSpPr>
          <p:cNvPr id="45061" name="Oval 5">
            <a:extLst>
              <a:ext uri="{FF2B5EF4-FFF2-40B4-BE49-F238E27FC236}">
                <a16:creationId xmlns:a16="http://schemas.microsoft.com/office/drawing/2014/main" id="{7A6BE916-11E4-FE44-A211-77475C9534D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59113" y="1773238"/>
            <a:ext cx="1657350" cy="1655762"/>
          </a:xfrm>
          <a:prstGeom prst="ellipse">
            <a:avLst/>
          </a:prstGeom>
          <a:noFill/>
          <a:ln w="38100">
            <a:solidFill>
              <a:schemeClr val="folHlink"/>
            </a:solidFill>
            <a:round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5050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endParaRPr lang="de-DE" altLang="de-DE"/>
          </a:p>
        </p:txBody>
      </p:sp>
      <p:grpSp>
        <p:nvGrpSpPr>
          <p:cNvPr id="45062" name="Group 6">
            <a:extLst>
              <a:ext uri="{FF2B5EF4-FFF2-40B4-BE49-F238E27FC236}">
                <a16:creationId xmlns:a16="http://schemas.microsoft.com/office/drawing/2014/main" id="{8C399622-E7DB-AC44-91CB-2BACEA16A609}"/>
              </a:ext>
            </a:extLst>
          </p:cNvPr>
          <p:cNvGrpSpPr>
            <a:grpSpLocks/>
          </p:cNvGrpSpPr>
          <p:nvPr/>
        </p:nvGrpSpPr>
        <p:grpSpPr bwMode="auto">
          <a:xfrm>
            <a:off x="3779838" y="2924175"/>
            <a:ext cx="4537075" cy="1193800"/>
            <a:chOff x="2381" y="1842"/>
            <a:chExt cx="2858" cy="752"/>
          </a:xfrm>
        </p:grpSpPr>
        <p:sp>
          <p:nvSpPr>
            <p:cNvPr id="45063" name="Oval 7">
              <a:extLst>
                <a:ext uri="{FF2B5EF4-FFF2-40B4-BE49-F238E27FC236}">
                  <a16:creationId xmlns:a16="http://schemas.microsoft.com/office/drawing/2014/main" id="{5021FCE0-1850-444B-ADC1-1E23A8865F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1" y="2205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5064" name="Oval 8">
              <a:extLst>
                <a:ext uri="{FF2B5EF4-FFF2-40B4-BE49-F238E27FC236}">
                  <a16:creationId xmlns:a16="http://schemas.microsoft.com/office/drawing/2014/main" id="{EAE1A067-76C1-B84F-8CAF-760F8F91D7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7" y="1880"/>
              <a:ext cx="134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5065" name="Oval 9">
              <a:extLst>
                <a:ext uri="{FF2B5EF4-FFF2-40B4-BE49-F238E27FC236}">
                  <a16:creationId xmlns:a16="http://schemas.microsoft.com/office/drawing/2014/main" id="{548229E4-37F4-864E-BD22-BD5B500205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5" y="2024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5066" name="Oval 10">
              <a:extLst>
                <a:ext uri="{FF2B5EF4-FFF2-40B4-BE49-F238E27FC236}">
                  <a16:creationId xmlns:a16="http://schemas.microsoft.com/office/drawing/2014/main" id="{EFE1EB52-D09C-4D4F-88E2-2FE15A12C5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8" y="2341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5067" name="Oval 11">
              <a:extLst>
                <a:ext uri="{FF2B5EF4-FFF2-40B4-BE49-F238E27FC236}">
                  <a16:creationId xmlns:a16="http://schemas.microsoft.com/office/drawing/2014/main" id="{5AB30A2E-1804-A34A-BD6E-56294FB07E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" y="2251"/>
              <a:ext cx="134" cy="115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5068" name="Oval 12">
              <a:extLst>
                <a:ext uri="{FF2B5EF4-FFF2-40B4-BE49-F238E27FC236}">
                  <a16:creationId xmlns:a16="http://schemas.microsoft.com/office/drawing/2014/main" id="{AB39A1B9-3D5D-6348-8C9C-CD24A20729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3" y="2478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5069" name="Oval 13">
              <a:extLst>
                <a:ext uri="{FF2B5EF4-FFF2-40B4-BE49-F238E27FC236}">
                  <a16:creationId xmlns:a16="http://schemas.microsoft.com/office/drawing/2014/main" id="{D2CC6B49-19A7-684E-B23A-EA18312745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8" y="1953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5070" name="Oval 14">
              <a:extLst>
                <a:ext uri="{FF2B5EF4-FFF2-40B4-BE49-F238E27FC236}">
                  <a16:creationId xmlns:a16="http://schemas.microsoft.com/office/drawing/2014/main" id="{148E0E86-28F2-8640-8F76-2395B78257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6" y="1979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5071" name="Oval 15">
              <a:extLst>
                <a:ext uri="{FF2B5EF4-FFF2-40B4-BE49-F238E27FC236}">
                  <a16:creationId xmlns:a16="http://schemas.microsoft.com/office/drawing/2014/main" id="{062825B8-4743-1E4B-B6AE-8E244F86C4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3" y="1996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5072" name="Oval 16">
              <a:extLst>
                <a:ext uri="{FF2B5EF4-FFF2-40B4-BE49-F238E27FC236}">
                  <a16:creationId xmlns:a16="http://schemas.microsoft.com/office/drawing/2014/main" id="{2709387B-E04D-DE4B-B9C9-695AE0AF3D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5" y="1996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5073" name="Line 17">
              <a:extLst>
                <a:ext uri="{FF2B5EF4-FFF2-40B4-BE49-F238E27FC236}">
                  <a16:creationId xmlns:a16="http://schemas.microsoft.com/office/drawing/2014/main" id="{D8C34268-D559-304D-A8B6-09FDD075D5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2" y="2296"/>
              <a:ext cx="227" cy="227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5074" name="Line 18">
              <a:extLst>
                <a:ext uri="{FF2B5EF4-FFF2-40B4-BE49-F238E27FC236}">
                  <a16:creationId xmlns:a16="http://schemas.microsoft.com/office/drawing/2014/main" id="{F719161A-CED3-2D4C-87B8-4E6D2D84F85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89" y="2341"/>
              <a:ext cx="182" cy="15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5075" name="Line 19">
              <a:extLst>
                <a:ext uri="{FF2B5EF4-FFF2-40B4-BE49-F238E27FC236}">
                  <a16:creationId xmlns:a16="http://schemas.microsoft.com/office/drawing/2014/main" id="{B8481112-194F-FE43-9945-30B022928D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16" y="2296"/>
              <a:ext cx="182" cy="9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5076" name="Line 20">
              <a:extLst>
                <a:ext uri="{FF2B5EF4-FFF2-40B4-BE49-F238E27FC236}">
                  <a16:creationId xmlns:a16="http://schemas.microsoft.com/office/drawing/2014/main" id="{A8BB515E-A0F2-2041-89BC-000A5A6491D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88" y="2069"/>
              <a:ext cx="272" cy="318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5077" name="Line 21">
              <a:extLst>
                <a:ext uri="{FF2B5EF4-FFF2-40B4-BE49-F238E27FC236}">
                  <a16:creationId xmlns:a16="http://schemas.microsoft.com/office/drawing/2014/main" id="{EA37EE22-776C-C647-B27F-77A84897E2C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51" y="2037"/>
              <a:ext cx="136" cy="32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5078" name="Line 22">
              <a:extLst>
                <a:ext uri="{FF2B5EF4-FFF2-40B4-BE49-F238E27FC236}">
                  <a16:creationId xmlns:a16="http://schemas.microsoft.com/office/drawing/2014/main" id="{80BC8AEB-57AF-6F45-8558-3D43E858F1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8" y="2024"/>
              <a:ext cx="181" cy="45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5079" name="Line 23">
              <a:extLst>
                <a:ext uri="{FF2B5EF4-FFF2-40B4-BE49-F238E27FC236}">
                  <a16:creationId xmlns:a16="http://schemas.microsoft.com/office/drawing/2014/main" id="{7211B6B6-90D8-244A-8CF8-B4A16AA67AC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67" y="2024"/>
              <a:ext cx="119" cy="1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5080" name="Line 24">
              <a:extLst>
                <a:ext uri="{FF2B5EF4-FFF2-40B4-BE49-F238E27FC236}">
                  <a16:creationId xmlns:a16="http://schemas.microsoft.com/office/drawing/2014/main" id="{1D062544-0BF8-1E4C-AA25-C2249CA8CFC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90" y="2024"/>
              <a:ext cx="168" cy="1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5081" name="Line 25">
              <a:extLst>
                <a:ext uri="{FF2B5EF4-FFF2-40B4-BE49-F238E27FC236}">
                  <a16:creationId xmlns:a16="http://schemas.microsoft.com/office/drawing/2014/main" id="{8D15FFCC-B31B-2B42-B58E-FC36F6E848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49" y="1958"/>
              <a:ext cx="188" cy="66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5082" name="Line 26">
              <a:extLst>
                <a:ext uri="{FF2B5EF4-FFF2-40B4-BE49-F238E27FC236}">
                  <a16:creationId xmlns:a16="http://schemas.microsoft.com/office/drawing/2014/main" id="{2132AD57-69D3-2F41-9F96-C9319D7EE9F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67" y="1888"/>
              <a:ext cx="178" cy="39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5083" name="Oval 27">
              <a:extLst>
                <a:ext uri="{FF2B5EF4-FFF2-40B4-BE49-F238E27FC236}">
                  <a16:creationId xmlns:a16="http://schemas.microsoft.com/office/drawing/2014/main" id="{4D54EDDD-135B-0249-A75B-E09609CB64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842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45087" name="AutoShape 31">
            <a:extLst>
              <a:ext uri="{FF2B5EF4-FFF2-40B4-BE49-F238E27FC236}">
                <a16:creationId xmlns:a16="http://schemas.microsoft.com/office/drawing/2014/main" id="{D852B672-D891-824C-B44C-F0E5809FB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0" y="4724400"/>
            <a:ext cx="1655763" cy="1152525"/>
          </a:xfrm>
          <a:prstGeom prst="wedgeEllipseCallout">
            <a:avLst>
              <a:gd name="adj1" fmla="val -203116"/>
              <a:gd name="adj2" fmla="val -136366"/>
            </a:avLst>
          </a:prstGeom>
          <a:solidFill>
            <a:srgbClr val="FF66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/>
            <a:r>
              <a:rPr lang="de-DE" altLang="de-DE"/>
              <a:t> -29.000 in  Bayer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50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450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7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450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450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450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450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OleChart spid="45059" grpId="0"/>
      <p:bldP spid="45060" grpId="0" animBg="1"/>
      <p:bldP spid="45061" grpId="0" animBg="1"/>
      <p:bldP spid="4508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ußzeilenplatzhalter 3">
            <a:extLst>
              <a:ext uri="{FF2B5EF4-FFF2-40B4-BE49-F238E27FC236}">
                <a16:creationId xmlns:a16="http://schemas.microsoft.com/office/drawing/2014/main" id="{0C0CD6BF-6924-E74F-A8E7-BD38BD613F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25" name="Foliennummernplatzhalter 4">
            <a:extLst>
              <a:ext uri="{FF2B5EF4-FFF2-40B4-BE49-F238E27FC236}">
                <a16:creationId xmlns:a16="http://schemas.microsoft.com/office/drawing/2014/main" id="{7CF52EE4-A824-B74F-A244-47BA00BF7D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BA2066-C25D-9644-B849-E99553D0CF02}" type="slidenum">
              <a:rPr lang="de-DE" altLang="de-DE"/>
              <a:pPr/>
              <a:t>21</a:t>
            </a:fld>
            <a:endParaRPr lang="de-DE" altLang="de-DE"/>
          </a:p>
        </p:txBody>
      </p:sp>
      <p:grpSp>
        <p:nvGrpSpPr>
          <p:cNvPr id="28674" name="Group 2">
            <a:extLst>
              <a:ext uri="{FF2B5EF4-FFF2-40B4-BE49-F238E27FC236}">
                <a16:creationId xmlns:a16="http://schemas.microsoft.com/office/drawing/2014/main" id="{027BCED5-8382-C34C-B8A6-FE7115B1F5E1}"/>
              </a:ext>
            </a:extLst>
          </p:cNvPr>
          <p:cNvGrpSpPr>
            <a:grpSpLocks/>
          </p:cNvGrpSpPr>
          <p:nvPr/>
        </p:nvGrpSpPr>
        <p:grpSpPr bwMode="auto">
          <a:xfrm>
            <a:off x="323850" y="981075"/>
            <a:ext cx="8501063" cy="5260975"/>
            <a:chOff x="204" y="618"/>
            <a:chExt cx="5355" cy="3314"/>
          </a:xfrm>
        </p:grpSpPr>
        <p:graphicFrame>
          <p:nvGraphicFramePr>
            <p:cNvPr id="28675" name="Object 3">
              <a:extLst>
                <a:ext uri="{FF2B5EF4-FFF2-40B4-BE49-F238E27FC236}">
                  <a16:creationId xmlns:a16="http://schemas.microsoft.com/office/drawing/2014/main" id="{6B37A5B2-1EDF-7142-99B1-6443D50FC835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204" y="618"/>
            <a:ext cx="5352" cy="278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8698" name="Diagramm" r:id="rId4" imgW="6235700" imgH="3251200" progId="Excel.Chart.8">
                    <p:embed/>
                  </p:oleObj>
                </mc:Choice>
                <mc:Fallback>
                  <p:oleObj name="Diagramm" r:id="rId4" imgW="6235700" imgH="3251200" progId="Excel.Chart.8">
                    <p:embed/>
                    <p:pic>
                      <p:nvPicPr>
                        <p:cNvPr id="0" name="Object 3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04" y="618"/>
                          <a:ext cx="5352" cy="2787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28676" name="Group 4">
              <a:extLst>
                <a:ext uri="{FF2B5EF4-FFF2-40B4-BE49-F238E27FC236}">
                  <a16:creationId xmlns:a16="http://schemas.microsoft.com/office/drawing/2014/main" id="{8AB43F63-0F68-9F4F-ACB0-6A652DE9B92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21" y="3430"/>
              <a:ext cx="5038" cy="172"/>
              <a:chOff x="929" y="3280"/>
              <a:chExt cx="5038" cy="172"/>
            </a:xfrm>
          </p:grpSpPr>
          <p:sp>
            <p:nvSpPr>
              <p:cNvPr id="28677" name="Rectangle 5">
                <a:extLst>
                  <a:ext uri="{FF2B5EF4-FFF2-40B4-BE49-F238E27FC236}">
                    <a16:creationId xmlns:a16="http://schemas.microsoft.com/office/drawing/2014/main" id="{DE403DDB-2852-E845-9E19-DC286B482B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4" y="3312"/>
                <a:ext cx="91" cy="90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8678" name="Rectangle 6">
                <a:extLst>
                  <a:ext uri="{FF2B5EF4-FFF2-40B4-BE49-F238E27FC236}">
                    <a16:creationId xmlns:a16="http://schemas.microsoft.com/office/drawing/2014/main" id="{38B0E7A3-8B1B-9046-8B1F-B003AA0F36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7" y="3325"/>
                <a:ext cx="91" cy="90"/>
              </a:xfrm>
              <a:prstGeom prst="rect">
                <a:avLst/>
              </a:prstGeom>
              <a:solidFill>
                <a:srgbClr val="3E35F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8679" name="Rectangle 7">
                <a:extLst>
                  <a:ext uri="{FF2B5EF4-FFF2-40B4-BE49-F238E27FC236}">
                    <a16:creationId xmlns:a16="http://schemas.microsoft.com/office/drawing/2014/main" id="{8AF9CAD6-BFFE-6343-82F0-D76203A046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9" y="3325"/>
                <a:ext cx="91" cy="9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8680" name="Text Box 8">
                <a:extLst>
                  <a:ext uri="{FF2B5EF4-FFF2-40B4-BE49-F238E27FC236}">
                    <a16:creationId xmlns:a16="http://schemas.microsoft.com/office/drawing/2014/main" id="{B1A3B838-83A3-9C4F-AF96-37239B95C7C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182" y="3280"/>
                <a:ext cx="1785" cy="1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de-DE" altLang="de-DE" sz="1200"/>
                  <a:t>Bundeszuschuss exklusive Pauschalen</a:t>
                </a:r>
              </a:p>
            </p:txBody>
          </p:sp>
          <p:sp>
            <p:nvSpPr>
              <p:cNvPr id="28681" name="Text Box 9">
                <a:extLst>
                  <a:ext uri="{FF2B5EF4-FFF2-40B4-BE49-F238E27FC236}">
                    <a16:creationId xmlns:a16="http://schemas.microsoft.com/office/drawing/2014/main" id="{5DF9102D-CC1E-6B4A-9F9E-5A1FA99EA86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95" y="3280"/>
                <a:ext cx="1542" cy="1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r>
                  <a:rPr lang="de-DE" altLang="de-DE" sz="1200"/>
                  <a:t>Ausfinanzierung 2007 bis 2013</a:t>
                </a:r>
              </a:p>
            </p:txBody>
          </p:sp>
          <p:sp>
            <p:nvSpPr>
              <p:cNvPr id="28682" name="Text Box 10">
                <a:extLst>
                  <a:ext uri="{FF2B5EF4-FFF2-40B4-BE49-F238E27FC236}">
                    <a16:creationId xmlns:a16="http://schemas.microsoft.com/office/drawing/2014/main" id="{D21B3AAC-927B-584F-9209-5202E862F50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07" y="3280"/>
                <a:ext cx="1542" cy="1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r>
                  <a:rPr lang="de-DE" altLang="de-DE" sz="1200"/>
                  <a:t>Ausfinanzierung 2007 bis 2023</a:t>
                </a:r>
              </a:p>
            </p:txBody>
          </p:sp>
        </p:grpSp>
        <p:grpSp>
          <p:nvGrpSpPr>
            <p:cNvPr id="28683" name="Group 11">
              <a:extLst>
                <a:ext uri="{FF2B5EF4-FFF2-40B4-BE49-F238E27FC236}">
                  <a16:creationId xmlns:a16="http://schemas.microsoft.com/office/drawing/2014/main" id="{83A6094A-6842-954A-B2A4-BFA425EB39B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91" y="2637"/>
              <a:ext cx="363" cy="315"/>
              <a:chOff x="2199" y="2516"/>
              <a:chExt cx="363" cy="315"/>
            </a:xfrm>
          </p:grpSpPr>
          <p:sp>
            <p:nvSpPr>
              <p:cNvPr id="28684" name="Rectangle 12">
                <a:extLst>
                  <a:ext uri="{FF2B5EF4-FFF2-40B4-BE49-F238E27FC236}">
                    <a16:creationId xmlns:a16="http://schemas.microsoft.com/office/drawing/2014/main" id="{BD4CACD3-9A7F-BA45-99C1-106E64A187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99" y="2516"/>
                <a:ext cx="318" cy="315"/>
              </a:xfrm>
              <a:prstGeom prst="rect">
                <a:avLst/>
              </a:prstGeom>
              <a:solidFill>
                <a:srgbClr val="3366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8685" name="Line 13">
                <a:extLst>
                  <a:ext uri="{FF2B5EF4-FFF2-40B4-BE49-F238E27FC236}">
                    <a16:creationId xmlns:a16="http://schemas.microsoft.com/office/drawing/2014/main" id="{0A199F47-67F0-8B41-AFD0-A0DCD3FCAA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99" y="2831"/>
                <a:ext cx="363" cy="0"/>
              </a:xfrm>
              <a:prstGeom prst="line">
                <a:avLst/>
              </a:prstGeom>
              <a:noFill/>
              <a:ln w="38100">
                <a:solidFill>
                  <a:srgbClr val="0066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28686" name="Line 14">
              <a:extLst>
                <a:ext uri="{FF2B5EF4-FFF2-40B4-BE49-F238E27FC236}">
                  <a16:creationId xmlns:a16="http://schemas.microsoft.com/office/drawing/2014/main" id="{8685ED7F-15B3-3F40-BB36-3E60784BAE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955"/>
              <a:ext cx="318" cy="0"/>
            </a:xfrm>
            <a:prstGeom prst="line">
              <a:avLst/>
            </a:prstGeom>
            <a:noFill/>
            <a:ln w="57150">
              <a:solidFill>
                <a:srgbClr val="0066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8687" name="Line 15">
              <a:extLst>
                <a:ext uri="{FF2B5EF4-FFF2-40B4-BE49-F238E27FC236}">
                  <a16:creationId xmlns:a16="http://schemas.microsoft.com/office/drawing/2014/main" id="{53A04943-2904-5C4E-A055-CECDEF17241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683"/>
              <a:ext cx="0" cy="31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8688" name="Line 16">
              <a:extLst>
                <a:ext uri="{FF2B5EF4-FFF2-40B4-BE49-F238E27FC236}">
                  <a16:creationId xmlns:a16="http://schemas.microsoft.com/office/drawing/2014/main" id="{13379F33-9A39-9D4C-AE28-D5AA1C93CF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1277"/>
              <a:ext cx="0" cy="130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8689" name="Text Box 17">
              <a:extLst>
                <a:ext uri="{FF2B5EF4-FFF2-40B4-BE49-F238E27FC236}">
                  <a16:creationId xmlns:a16="http://schemas.microsoft.com/office/drawing/2014/main" id="{ECA834AF-D77F-C943-A8B9-DD52BF3BE50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92" y="1004"/>
              <a:ext cx="1148" cy="2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b="1"/>
                <a:t>Hochschulpakt</a:t>
              </a:r>
            </a:p>
          </p:txBody>
        </p:sp>
        <p:sp>
          <p:nvSpPr>
            <p:cNvPr id="28690" name="Text Box 18">
              <a:extLst>
                <a:ext uri="{FF2B5EF4-FFF2-40B4-BE49-F238E27FC236}">
                  <a16:creationId xmlns:a16="http://schemas.microsoft.com/office/drawing/2014/main" id="{40D27553-C4D3-5749-B681-84660309C0D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46" y="2683"/>
              <a:ext cx="804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b="1">
                  <a:solidFill>
                    <a:schemeClr val="bg1"/>
                  </a:solidFill>
                </a:rPr>
                <a:t>438 Mio. €</a:t>
              </a:r>
            </a:p>
          </p:txBody>
        </p:sp>
        <p:sp>
          <p:nvSpPr>
            <p:cNvPr id="28691" name="Text Box 19">
              <a:extLst>
                <a:ext uri="{FF2B5EF4-FFF2-40B4-BE49-F238E27FC236}">
                  <a16:creationId xmlns:a16="http://schemas.microsoft.com/office/drawing/2014/main" id="{60448C29-794C-9845-AD22-E965F78B0C4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27" y="2320"/>
              <a:ext cx="1497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r>
                <a:rPr lang="de-DE" altLang="de-DE" b="1">
                  <a:solidFill>
                    <a:schemeClr val="bg1"/>
                  </a:solidFill>
                </a:rPr>
                <a:t>+ 1.76 Milliarden € </a:t>
              </a:r>
            </a:p>
          </p:txBody>
        </p:sp>
        <p:sp>
          <p:nvSpPr>
            <p:cNvPr id="28692" name="Text Box 20">
              <a:extLst>
                <a:ext uri="{FF2B5EF4-FFF2-40B4-BE49-F238E27FC236}">
                  <a16:creationId xmlns:a16="http://schemas.microsoft.com/office/drawing/2014/main" id="{9A896DA0-DFF6-C645-92FE-C724F250FA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09" y="1933"/>
              <a:ext cx="1192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 </a:t>
              </a:r>
              <a:r>
                <a:rPr lang="de-DE" altLang="de-DE" b="1">
                  <a:solidFill>
                    <a:schemeClr val="bg1"/>
                  </a:solidFill>
                </a:rPr>
                <a:t>+ 5 Milliarden €</a:t>
              </a:r>
            </a:p>
          </p:txBody>
        </p:sp>
        <p:sp>
          <p:nvSpPr>
            <p:cNvPr id="28693" name="Text Box 21">
              <a:extLst>
                <a:ext uri="{FF2B5EF4-FFF2-40B4-BE49-F238E27FC236}">
                  <a16:creationId xmlns:a16="http://schemas.microsoft.com/office/drawing/2014/main" id="{176EAC2B-26DB-4B40-9DC7-D1D3CF01DD1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644"/>
              <a:ext cx="2317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2400">
                  <a:solidFill>
                    <a:schemeClr val="bg2"/>
                  </a:solidFill>
                </a:rPr>
                <a:t>Finanzbedarf 2007 - 2023</a:t>
              </a:r>
            </a:p>
          </p:txBody>
        </p:sp>
        <p:sp>
          <p:nvSpPr>
            <p:cNvPr id="28694" name="Text Box 22">
              <a:extLst>
                <a:ext uri="{FF2B5EF4-FFF2-40B4-BE49-F238E27FC236}">
                  <a16:creationId xmlns:a16="http://schemas.microsoft.com/office/drawing/2014/main" id="{65A98EEC-BABF-E547-B301-ED636E94BC8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70" y="754"/>
              <a:ext cx="1926" cy="3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2000" b="1"/>
                <a:t> gesamt</a:t>
              </a:r>
              <a:r>
                <a:rPr lang="de-DE" altLang="de-DE" sz="2800" b="1"/>
                <a:t> </a:t>
              </a:r>
              <a:r>
                <a:rPr lang="de-DE" altLang="de-DE" sz="2000" b="1"/>
                <a:t>7,2 Milliarden €</a:t>
              </a:r>
            </a:p>
          </p:txBody>
        </p:sp>
      </p:grpSp>
      <p:sp>
        <p:nvSpPr>
          <p:cNvPr id="28695" name="Rectangle 23">
            <a:extLst>
              <a:ext uri="{FF2B5EF4-FFF2-40B4-BE49-F238E27FC236}">
                <a16:creationId xmlns:a16="http://schemas.microsoft.com/office/drawing/2014/main" id="{FEB6DCBF-421B-4E43-94D8-0E4B025F47C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de-DE" altLang="de-DE" b="1"/>
              <a:t>Studentenhoch nicht finanziert</a:t>
            </a:r>
          </a:p>
        </p:txBody>
      </p:sp>
    </p:spTree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9CABCB-5B89-3A4E-B4AA-EAD274D85DA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E517F4C-4EB7-DF43-B331-30D1EBFED5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300D96-1A5A-3746-AE2F-6E55F7C3C15F}" type="slidenum">
              <a:rPr lang="de-DE" altLang="de-DE"/>
              <a:pPr/>
              <a:t>22</a:t>
            </a:fld>
            <a:endParaRPr lang="de-DE" altLang="de-DE"/>
          </a:p>
        </p:txBody>
      </p:sp>
      <p:sp>
        <p:nvSpPr>
          <p:cNvPr id="103426" name="Rectangle 2">
            <a:extLst>
              <a:ext uri="{FF2B5EF4-FFF2-40B4-BE49-F238E27FC236}">
                <a16:creationId xmlns:a16="http://schemas.microsoft.com/office/drawing/2014/main" id="{E4CFEB77-36BB-A848-8D91-5050F706109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Befund 5</a:t>
            </a:r>
          </a:p>
        </p:txBody>
      </p:sp>
      <p:sp>
        <p:nvSpPr>
          <p:cNvPr id="103427" name="Rectangle 3">
            <a:extLst>
              <a:ext uri="{FF2B5EF4-FFF2-40B4-BE49-F238E27FC236}">
                <a16:creationId xmlns:a16="http://schemas.microsoft.com/office/drawing/2014/main" id="{48765701-3B3D-C145-AABC-675D6B7B6BC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57200" y="2216150"/>
            <a:ext cx="8229600" cy="2220913"/>
          </a:xfrm>
        </p:spPr>
        <p:txBody>
          <a:bodyPr/>
          <a:lstStyle/>
          <a:p>
            <a:pPr algn="ctr">
              <a:buFont typeface="Wingdings" pitchFamily="2" charset="2"/>
              <a:buNone/>
            </a:pPr>
            <a:r>
              <a:rPr lang="de-DE" altLang="de-DE" sz="3600"/>
              <a:t>Chance 2: Abiturientenhoch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034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34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034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427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9BC8D638-519B-3645-B87B-480268698CC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B6C2EB06-5566-9841-B9B8-7C1EEE90D12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3CF761-D45D-DE48-A852-45FB6664E472}" type="slidenum">
              <a:rPr lang="de-DE" altLang="de-DE"/>
              <a:pPr/>
              <a:t>23</a:t>
            </a:fld>
            <a:endParaRPr lang="de-DE" altLang="de-DE"/>
          </a:p>
        </p:txBody>
      </p:sp>
      <p:sp>
        <p:nvSpPr>
          <p:cNvPr id="36866" name="Rectangle 2">
            <a:extLst>
              <a:ext uri="{FF2B5EF4-FFF2-40B4-BE49-F238E27FC236}">
                <a16:creationId xmlns:a16="http://schemas.microsoft.com/office/drawing/2014/main" id="{0CC1ADA8-D060-C849-A248-DAEFD37DB5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765175"/>
            <a:ext cx="7005638" cy="561975"/>
          </a:xfrm>
        </p:spPr>
        <p:txBody>
          <a:bodyPr/>
          <a:lstStyle/>
          <a:p>
            <a:r>
              <a:rPr lang="de-DE" altLang="de-DE" sz="1600" b="1">
                <a:solidFill>
                  <a:schemeClr val="bg2"/>
                </a:solidFill>
              </a:rPr>
              <a:t>Ingenieure, Stand Herbst 2005</a:t>
            </a:r>
          </a:p>
        </p:txBody>
      </p:sp>
      <p:graphicFrame>
        <p:nvGraphicFramePr>
          <p:cNvPr id="36867" name="Object 3">
            <a:extLst>
              <a:ext uri="{FF2B5EF4-FFF2-40B4-BE49-F238E27FC236}">
                <a16:creationId xmlns:a16="http://schemas.microsoft.com/office/drawing/2014/main" id="{3FBE5C38-343E-1548-B6F5-A3BB62EA5ED6}"/>
              </a:ext>
            </a:extLst>
          </p:cNvPr>
          <p:cNvGraphicFramePr>
            <a:graphicFrameLocks noChangeAspect="1"/>
          </p:cNvGraphicFramePr>
          <p:nvPr>
            <p:ph sz="half" idx="2"/>
          </p:nvPr>
        </p:nvGraphicFramePr>
        <p:xfrm>
          <a:off x="1806575" y="1770063"/>
          <a:ext cx="5934075" cy="41513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1" name="Diagramm" r:id="rId4" imgW="5092700" imgH="3924300" progId="Excel.Chart.8">
                  <p:embed/>
                </p:oleObj>
              </mc:Choice>
              <mc:Fallback>
                <p:oleObj name="Diagramm" r:id="rId4" imgW="5092700" imgH="3924300" progId="Excel.Chart.8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06575" y="1770063"/>
                        <a:ext cx="5934075" cy="41513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6868" name="Object 4">
            <a:extLst>
              <a:ext uri="{FF2B5EF4-FFF2-40B4-BE49-F238E27FC236}">
                <a16:creationId xmlns:a16="http://schemas.microsoft.com/office/drawing/2014/main" id="{00E3B0BA-D015-494B-A752-62231ACB8F11}"/>
              </a:ext>
            </a:extLst>
          </p:cNvPr>
          <p:cNvGraphicFramePr>
            <a:graphicFrameLocks noChangeAspect="1"/>
          </p:cNvGraphicFramePr>
          <p:nvPr>
            <p:ph sz="half" idx="1"/>
          </p:nvPr>
        </p:nvGraphicFramePr>
        <p:xfrm>
          <a:off x="1806575" y="1762125"/>
          <a:ext cx="5935663" cy="4152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2" name="Diagramm" r:id="rId6" imgW="5092700" imgH="3924300" progId="Excel.Chart.8">
                  <p:embed/>
                </p:oleObj>
              </mc:Choice>
              <mc:Fallback>
                <p:oleObj name="Diagramm" r:id="rId6" imgW="5092700" imgH="3924300" progId="Excel.Chart.8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06575" y="1762125"/>
                        <a:ext cx="5935663" cy="4152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70" name="Rectangle 6">
            <a:extLst>
              <a:ext uri="{FF2B5EF4-FFF2-40B4-BE49-F238E27FC236}">
                <a16:creationId xmlns:a16="http://schemas.microsoft.com/office/drawing/2014/main" id="{8FE2119B-9E0F-514F-908A-F8B67FD85A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850" y="188913"/>
            <a:ext cx="7005638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1pPr>
            <a:lvl2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2pPr>
            <a:lvl3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3pPr>
            <a:lvl4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4pPr>
            <a:lvl5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b="1"/>
              <a:t>Arbeitslose „Alte“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57D1FAB-F95F-9945-A616-01D7D4E39F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B88B03C-15F5-1C47-AE33-25FF133D7D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9F541CC-DF3F-B440-B9E3-63FB1BA9E8F7}" type="slidenum">
              <a:rPr lang="de-DE" altLang="de-DE"/>
              <a:pPr/>
              <a:t>24</a:t>
            </a:fld>
            <a:endParaRPr lang="de-DE" altLang="de-DE"/>
          </a:p>
        </p:txBody>
      </p:sp>
      <p:sp>
        <p:nvSpPr>
          <p:cNvPr id="105474" name="Rectangle 2">
            <a:extLst>
              <a:ext uri="{FF2B5EF4-FFF2-40B4-BE49-F238E27FC236}">
                <a16:creationId xmlns:a16="http://schemas.microsoft.com/office/drawing/2014/main" id="{DF4CE28D-6FDB-444B-8EF7-7168D1DA2CB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Befund 6</a:t>
            </a:r>
          </a:p>
        </p:txBody>
      </p:sp>
      <p:sp>
        <p:nvSpPr>
          <p:cNvPr id="105475" name="Rectangle 3">
            <a:extLst>
              <a:ext uri="{FF2B5EF4-FFF2-40B4-BE49-F238E27FC236}">
                <a16:creationId xmlns:a16="http://schemas.microsoft.com/office/drawing/2014/main" id="{EC2748FF-D616-E74E-AE33-84826ED4253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57200" y="2216150"/>
            <a:ext cx="8229600" cy="2220913"/>
          </a:xfrm>
        </p:spPr>
        <p:txBody>
          <a:bodyPr/>
          <a:lstStyle/>
          <a:p>
            <a:pPr algn="ctr">
              <a:buFont typeface="Wingdings" pitchFamily="2" charset="2"/>
              <a:buNone/>
            </a:pPr>
            <a:r>
              <a:rPr lang="de-DE" altLang="de-DE" sz="3600"/>
              <a:t>Chance 3: Alte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054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54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054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5475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B50FD4E-1CBF-7D4C-A14F-FCCDCE4A3B8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E9D7D59-1CE8-0449-B89C-C8615503E9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E10CAC-5E90-7243-BA21-9759477634F9}" type="slidenum">
              <a:rPr lang="de-DE" altLang="de-DE"/>
              <a:pPr/>
              <a:t>25</a:t>
            </a:fld>
            <a:endParaRPr lang="de-DE" altLang="de-DE"/>
          </a:p>
        </p:txBody>
      </p:sp>
      <p:sp>
        <p:nvSpPr>
          <p:cNvPr id="51202" name="Rectangle 2">
            <a:extLst>
              <a:ext uri="{FF2B5EF4-FFF2-40B4-BE49-F238E27FC236}">
                <a16:creationId xmlns:a16="http://schemas.microsoft.com/office/drawing/2014/main" id="{A1B74179-C809-3240-A9DC-5C8128D2CDD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de-DE" altLang="de-DE" sz="3200" b="1"/>
              <a:t>Was ist zu tun? </a:t>
            </a:r>
          </a:p>
        </p:txBody>
      </p:sp>
      <p:sp>
        <p:nvSpPr>
          <p:cNvPr id="51203" name="Rectangle 3">
            <a:extLst>
              <a:ext uri="{FF2B5EF4-FFF2-40B4-BE49-F238E27FC236}">
                <a16:creationId xmlns:a16="http://schemas.microsoft.com/office/drawing/2014/main" id="{A67E1A08-AD3E-D54B-AAD7-FC0FADB8352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84213" y="1270000"/>
            <a:ext cx="7991475" cy="4464050"/>
          </a:xfrm>
        </p:spPr>
        <p:txBody>
          <a:bodyPr/>
          <a:lstStyle/>
          <a:p>
            <a:r>
              <a:rPr lang="de-DE" altLang="de-DE"/>
              <a:t>Fördern statt Selektieren!</a:t>
            </a:r>
          </a:p>
          <a:p>
            <a:pPr lvl="1"/>
            <a:r>
              <a:rPr lang="de-DE" altLang="de-DE"/>
              <a:t>objektive Diagnostik</a:t>
            </a:r>
          </a:p>
          <a:p>
            <a:pPr lvl="1"/>
            <a:r>
              <a:rPr lang="de-DE" altLang="de-DE"/>
              <a:t>aufnehmende Institution Mitentscheidung und Verantwortung</a:t>
            </a:r>
          </a:p>
          <a:p>
            <a:r>
              <a:rPr lang="de-DE" altLang="de-DE"/>
              <a:t>Personalentwicklung</a:t>
            </a:r>
          </a:p>
          <a:p>
            <a:pPr lvl="1"/>
            <a:r>
              <a:rPr lang="de-DE" altLang="de-DE"/>
              <a:t>Weiterbildung 5 % Arbeitszeit</a:t>
            </a:r>
          </a:p>
          <a:p>
            <a:pPr lvl="1"/>
            <a:r>
              <a:rPr lang="de-DE" altLang="de-DE"/>
              <a:t>Lehrerausbildung einphasig Bachelor-Master</a:t>
            </a:r>
          </a:p>
          <a:p>
            <a:pPr lvl="1"/>
            <a:r>
              <a:rPr lang="de-DE" altLang="de-DE"/>
              <a:t>Einstellung durch Schule</a:t>
            </a:r>
          </a:p>
          <a:p>
            <a:pPr lvl="1"/>
            <a:r>
              <a:rPr lang="de-DE" altLang="de-DE"/>
              <a:t>Lehrlizenz befristet, abhängig von erfolgreicher PE</a:t>
            </a:r>
          </a:p>
          <a:p>
            <a:pPr>
              <a:buFont typeface="Wingdings" pitchFamily="2" charset="2"/>
              <a:buNone/>
            </a:pPr>
            <a:endParaRPr lang="de-DE" altLang="de-DE"/>
          </a:p>
          <a:p>
            <a:endParaRPr lang="de-DE" altLang="de-DE"/>
          </a:p>
          <a:p>
            <a:endParaRPr lang="de-DE" altLang="de-DE"/>
          </a:p>
          <a:p>
            <a:endParaRPr lang="de-DE" alt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12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12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512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12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12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12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512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12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12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12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12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512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120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120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120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5120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5120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5120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120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5120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5120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5120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5120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5120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203" grpId="0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C3258FB-32EC-B349-B414-56E42EBD18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B792B5B-05DA-7A49-B616-B1D3C7CE46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E6671D5-BC68-BF41-A7AB-E25DF08853E1}" type="slidenum">
              <a:rPr lang="de-DE" altLang="de-DE"/>
              <a:pPr/>
              <a:t>26</a:t>
            </a:fld>
            <a:endParaRPr lang="de-DE" altLang="de-DE"/>
          </a:p>
        </p:txBody>
      </p:sp>
      <p:sp>
        <p:nvSpPr>
          <p:cNvPr id="107522" name="Rectangle 2">
            <a:extLst>
              <a:ext uri="{FF2B5EF4-FFF2-40B4-BE49-F238E27FC236}">
                <a16:creationId xmlns:a16="http://schemas.microsoft.com/office/drawing/2014/main" id="{2CE3DE02-CD98-504F-B6A7-59777CD3F25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de-DE" altLang="de-DE" sz="3200" b="1"/>
              <a:t>Was ist zu tun? </a:t>
            </a:r>
          </a:p>
        </p:txBody>
      </p:sp>
      <p:sp>
        <p:nvSpPr>
          <p:cNvPr id="107523" name="Rectangle 3">
            <a:extLst>
              <a:ext uri="{FF2B5EF4-FFF2-40B4-BE49-F238E27FC236}">
                <a16:creationId xmlns:a16="http://schemas.microsoft.com/office/drawing/2014/main" id="{85E3E89D-FF01-F149-AADF-278DD74EDC8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39750" y="1412875"/>
            <a:ext cx="8280400" cy="4176713"/>
          </a:xfrm>
        </p:spPr>
        <p:txBody>
          <a:bodyPr/>
          <a:lstStyle/>
          <a:p>
            <a:r>
              <a:rPr lang="de-DE" altLang="de-DE"/>
              <a:t>Neue Steuerung</a:t>
            </a:r>
          </a:p>
          <a:p>
            <a:pPr lvl="1"/>
            <a:r>
              <a:rPr lang="de-DE" altLang="de-DE"/>
              <a:t>Autonomie für Personal und Prozesse (ext. Leistungsüberprüfung)</a:t>
            </a:r>
          </a:p>
          <a:p>
            <a:pPr lvl="1"/>
            <a:r>
              <a:rPr lang="de-DE" altLang="de-DE"/>
              <a:t>Leistungs- und belastungsorientierte Besoldung</a:t>
            </a:r>
          </a:p>
          <a:p>
            <a:pPr lvl="1"/>
            <a:r>
              <a:rPr lang="de-DE" altLang="de-DE"/>
              <a:t>Schulleitung professionalisieren</a:t>
            </a:r>
          </a:p>
          <a:p>
            <a:pPr lvl="1"/>
            <a:r>
              <a:rPr lang="de-DE" altLang="de-DE"/>
              <a:t>Schulen öffentlich finanzieren in privater Trägerschaft</a:t>
            </a:r>
          </a:p>
          <a:p>
            <a:endParaRPr lang="de-DE" altLang="de-DE"/>
          </a:p>
          <a:p>
            <a:endParaRPr lang="de-DE" altLang="de-DE"/>
          </a:p>
          <a:p>
            <a:endParaRPr lang="de-DE" altLang="de-DE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B1EC3DE9-721A-4747-BCE4-6EC64480D2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6" name="Foliennummernplatzhalter 4">
            <a:extLst>
              <a:ext uri="{FF2B5EF4-FFF2-40B4-BE49-F238E27FC236}">
                <a16:creationId xmlns:a16="http://schemas.microsoft.com/office/drawing/2014/main" id="{855BC9CF-B8EB-0D4F-8F32-DE55A87351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EC38F8-17DA-D34D-BA40-00C491D7588D}" type="slidenum">
              <a:rPr lang="de-DE" altLang="de-DE"/>
              <a:pPr/>
              <a:t>27</a:t>
            </a:fld>
            <a:endParaRPr lang="de-DE" altLang="de-DE"/>
          </a:p>
        </p:txBody>
      </p:sp>
      <p:sp>
        <p:nvSpPr>
          <p:cNvPr id="72706" name="Rectangle 2">
            <a:extLst>
              <a:ext uri="{FF2B5EF4-FFF2-40B4-BE49-F238E27FC236}">
                <a16:creationId xmlns:a16="http://schemas.microsoft.com/office/drawing/2014/main" id="{27C3429B-68A7-034C-949E-A61EFA9C0D2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3 Botschaften</a:t>
            </a:r>
          </a:p>
        </p:txBody>
      </p:sp>
      <p:sp>
        <p:nvSpPr>
          <p:cNvPr id="72707" name="Rectangle 3">
            <a:extLst>
              <a:ext uri="{FF2B5EF4-FFF2-40B4-BE49-F238E27FC236}">
                <a16:creationId xmlns:a16="http://schemas.microsoft.com/office/drawing/2014/main" id="{BE224873-BD1A-134C-970F-0A1EB94E85D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042988" y="1639888"/>
            <a:ext cx="7643812" cy="4525962"/>
          </a:xfrm>
        </p:spPr>
        <p:txBody>
          <a:bodyPr/>
          <a:lstStyle/>
          <a:p>
            <a:r>
              <a:rPr lang="de-DE" altLang="de-DE" sz="3200"/>
              <a:t>Wir verteilen Bildung ungerecht.</a:t>
            </a:r>
            <a:br>
              <a:rPr lang="de-DE" altLang="de-DE" sz="3200"/>
            </a:br>
            <a:endParaRPr lang="de-DE" altLang="de-DE" sz="3200"/>
          </a:p>
          <a:p>
            <a:r>
              <a:rPr lang="de-DE" altLang="de-DE" sz="3200"/>
              <a:t>Wir schöpfen unsere Ressourcen nicht aus.</a:t>
            </a:r>
            <a:br>
              <a:rPr lang="de-DE" altLang="de-DE" sz="3200"/>
            </a:br>
            <a:endParaRPr lang="de-DE" altLang="de-DE" sz="3200"/>
          </a:p>
          <a:p>
            <a:r>
              <a:rPr lang="de-DE" altLang="de-DE" sz="3200"/>
              <a:t>Reform kann gelingen!</a:t>
            </a:r>
          </a:p>
        </p:txBody>
      </p:sp>
      <p:sp>
        <p:nvSpPr>
          <p:cNvPr id="72708" name="Rectangle 4">
            <a:extLst>
              <a:ext uri="{FF2B5EF4-FFF2-40B4-BE49-F238E27FC236}">
                <a16:creationId xmlns:a16="http://schemas.microsoft.com/office/drawing/2014/main" id="{A134CFC2-6CCC-9C4E-B31C-BA14BFE3CE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7088" y="1412875"/>
            <a:ext cx="7993062" cy="2592388"/>
          </a:xfrm>
          <a:prstGeom prst="rect">
            <a:avLst/>
          </a:prstGeom>
          <a:solidFill>
            <a:schemeClr val="accent1">
              <a:alpha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B961ADD6-2830-C14B-8828-AB3DD9F1285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EB55E502-0895-F647-8A86-F1B1F9932A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9E0BFC-56B6-BB45-9853-65348E69469E}" type="slidenum">
              <a:rPr lang="de-DE" altLang="de-DE"/>
              <a:pPr/>
              <a:t>28</a:t>
            </a:fld>
            <a:endParaRPr lang="de-DE" altLang="de-DE"/>
          </a:p>
        </p:txBody>
      </p:sp>
      <p:pic>
        <p:nvPicPr>
          <p:cNvPr id="74754" name="Picture 2">
            <a:extLst>
              <a:ext uri="{FF2B5EF4-FFF2-40B4-BE49-F238E27FC236}">
                <a16:creationId xmlns:a16="http://schemas.microsoft.com/office/drawing/2014/main" id="{CBD39CC8-E2DF-DC42-B5A5-80CEDF765D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213" y="765175"/>
            <a:ext cx="3863975" cy="5688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4755" name="Object 3">
            <a:extLst>
              <a:ext uri="{FF2B5EF4-FFF2-40B4-BE49-F238E27FC236}">
                <a16:creationId xmlns:a16="http://schemas.microsoft.com/office/drawing/2014/main" id="{0A95DA89-E8AF-C748-943F-B0EC8779078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924300" y="2997200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3" name="Clip" r:id="rId5" imgW="1092200" imgH="1066800" progId="MS_ClipArt_Gallery.2">
                  <p:embed/>
                </p:oleObj>
              </mc:Choice>
              <mc:Fallback>
                <p:oleObj name="Clip" r:id="rId5" imgW="1092200" imgH="1066800" progId="MS_ClipArt_Gallery.2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24300" y="2997200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4756" name="Object 4">
            <a:extLst>
              <a:ext uri="{FF2B5EF4-FFF2-40B4-BE49-F238E27FC236}">
                <a16:creationId xmlns:a16="http://schemas.microsoft.com/office/drawing/2014/main" id="{D8A4C5D6-D327-CC4E-AD63-0DAD92A0277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16013" y="4191000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4" name="Clip" r:id="rId7" imgW="1092200" imgH="1066800" progId="MS_ClipArt_Gallery.2">
                  <p:embed/>
                </p:oleObj>
              </mc:Choice>
              <mc:Fallback>
                <p:oleObj name="Clip" r:id="rId7" imgW="1092200" imgH="1066800" progId="MS_ClipArt_Gallery.2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6013" y="4191000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4757" name="Object 5">
            <a:extLst>
              <a:ext uri="{FF2B5EF4-FFF2-40B4-BE49-F238E27FC236}">
                <a16:creationId xmlns:a16="http://schemas.microsoft.com/office/drawing/2014/main" id="{FC8B76F5-5C37-7249-A7E1-3B13A137D20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877050" y="1752600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5" name="Clip" r:id="rId9" imgW="1092200" imgH="1066800" progId="MS_ClipArt_Gallery.2">
                  <p:embed/>
                </p:oleObj>
              </mc:Choice>
              <mc:Fallback>
                <p:oleObj name="Clip" r:id="rId9" imgW="1092200" imgH="1066800" progId="MS_ClipArt_Gallery.2">
                  <p:embed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77050" y="1752600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4758" name="Object 6">
            <a:extLst>
              <a:ext uri="{FF2B5EF4-FFF2-40B4-BE49-F238E27FC236}">
                <a16:creationId xmlns:a16="http://schemas.microsoft.com/office/drawing/2014/main" id="{9644200C-3AB0-0948-84DB-BE5683F362F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962400" y="981075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6" name="Clip" r:id="rId11" imgW="1092200" imgH="1066800" progId="MS_ClipArt_Gallery.2">
                  <p:embed/>
                </p:oleObj>
              </mc:Choice>
              <mc:Fallback>
                <p:oleObj name="Clip" r:id="rId11" imgW="1092200" imgH="1066800" progId="MS_ClipArt_Gallery.2">
                  <p:embed/>
                  <p:pic>
                    <p:nvPicPr>
                      <p:cNvPr id="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62400" y="981075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4759" name="Object 7">
            <a:extLst>
              <a:ext uri="{FF2B5EF4-FFF2-40B4-BE49-F238E27FC236}">
                <a16:creationId xmlns:a16="http://schemas.microsoft.com/office/drawing/2014/main" id="{C49FEFDF-E543-B94B-95C2-A9D1F1FD189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962400" y="5095875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7" name="Clip" r:id="rId13" imgW="1092200" imgH="1066800" progId="MS_ClipArt_Gallery.2">
                  <p:embed/>
                </p:oleObj>
              </mc:Choice>
              <mc:Fallback>
                <p:oleObj name="Clip" r:id="rId13" imgW="1092200" imgH="1066800" progId="MS_ClipArt_Gallery.2">
                  <p:embed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62400" y="5095875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4760" name="Object 8">
            <a:extLst>
              <a:ext uri="{FF2B5EF4-FFF2-40B4-BE49-F238E27FC236}">
                <a16:creationId xmlns:a16="http://schemas.microsoft.com/office/drawing/2014/main" id="{E831CD3B-F4F3-2547-BE1D-54BFE002515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877050" y="4267200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8" name="Clip" r:id="rId15" imgW="1092200" imgH="1066800" progId="MS_ClipArt_Gallery.2">
                  <p:embed/>
                </p:oleObj>
              </mc:Choice>
              <mc:Fallback>
                <p:oleObj name="Clip" r:id="rId15" imgW="1092200" imgH="1066800" progId="MS_ClipArt_Gallery.2">
                  <p:embed/>
                  <p:pic>
                    <p:nvPicPr>
                      <p:cNvPr id="0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77050" y="4267200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4761" name="Object 9">
            <a:extLst>
              <a:ext uri="{FF2B5EF4-FFF2-40B4-BE49-F238E27FC236}">
                <a16:creationId xmlns:a16="http://schemas.microsoft.com/office/drawing/2014/main" id="{46F746D9-F4C5-B948-A588-9DBBBA84731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89038" y="1625600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9" name="Clip" r:id="rId17" imgW="1092200" imgH="1066800" progId="MS_ClipArt_Gallery.2">
                  <p:embed/>
                </p:oleObj>
              </mc:Choice>
              <mc:Fallback>
                <p:oleObj name="Clip" r:id="rId17" imgW="1092200" imgH="1066800" progId="MS_ClipArt_Gallery.2">
                  <p:embed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89038" y="1625600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7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" dur="500"/>
                                        <p:tgtEl>
                                          <p:spTgt spid="747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7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747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7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747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47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7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747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7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747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7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747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7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747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9FF0AD1A-957C-6E41-BE08-FB21E8E37A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509498D1-934A-6C4A-8DB0-5769AA6610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0F9D5F-B99C-8841-913E-836FDEA8A75E}" type="slidenum">
              <a:rPr lang="de-DE" altLang="de-DE"/>
              <a:pPr/>
              <a:t>29</a:t>
            </a:fld>
            <a:endParaRPr lang="de-DE" altLang="de-DE"/>
          </a:p>
        </p:txBody>
      </p:sp>
      <p:sp>
        <p:nvSpPr>
          <p:cNvPr id="76802" name="Text Box 2">
            <a:extLst>
              <a:ext uri="{FF2B5EF4-FFF2-40B4-BE49-F238E27FC236}">
                <a16:creationId xmlns:a16="http://schemas.microsoft.com/office/drawing/2014/main" id="{75629E39-9DFD-CD46-A808-3A2BE11E5F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76803" name="Rectangle 3">
            <a:extLst>
              <a:ext uri="{FF2B5EF4-FFF2-40B4-BE49-F238E27FC236}">
                <a16:creationId xmlns:a16="http://schemas.microsoft.com/office/drawing/2014/main" id="{E8225AB9-7B63-CD44-9387-1CAAD791353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280025" cy="685800"/>
          </a:xfrm>
        </p:spPr>
        <p:txBody>
          <a:bodyPr/>
          <a:lstStyle/>
          <a:p>
            <a:r>
              <a:rPr lang="de-DE" altLang="de-DE" sz="3200" b="1">
                <a:solidFill>
                  <a:srgbClr val="000000"/>
                </a:solidFill>
              </a:rPr>
              <a:t>wettbewerblich</a:t>
            </a:r>
          </a:p>
        </p:txBody>
      </p:sp>
      <p:graphicFrame>
        <p:nvGraphicFramePr>
          <p:cNvPr id="76804" name="Object 4">
            <a:extLst>
              <a:ext uri="{FF2B5EF4-FFF2-40B4-BE49-F238E27FC236}">
                <a16:creationId xmlns:a16="http://schemas.microsoft.com/office/drawing/2014/main" id="{8925DBC5-A59E-454C-8FF7-B4D36E147C29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8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805" name="Rectangle 5">
            <a:extLst>
              <a:ext uri="{FF2B5EF4-FFF2-40B4-BE49-F238E27FC236}">
                <a16:creationId xmlns:a16="http://schemas.microsoft.com/office/drawing/2014/main" id="{651F2D6D-C74F-FC45-9345-71166E280A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1844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Fiktion der Gleichheit abgelöst</a:t>
            </a:r>
          </a:p>
        </p:txBody>
      </p:sp>
      <p:sp>
        <p:nvSpPr>
          <p:cNvPr id="76806" name="Rectangle 6">
            <a:extLst>
              <a:ext uri="{FF2B5EF4-FFF2-40B4-BE49-F238E27FC236}">
                <a16:creationId xmlns:a16="http://schemas.microsoft.com/office/drawing/2014/main" id="{C41AEA40-E377-2E4E-A287-A2A860C5A4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3176588"/>
            <a:ext cx="5757863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Elite-Forschungs-Unis sind benannt</a:t>
            </a:r>
          </a:p>
        </p:txBody>
      </p:sp>
      <p:sp>
        <p:nvSpPr>
          <p:cNvPr id="76807" name="Rectangle 7">
            <a:extLst>
              <a:ext uri="{FF2B5EF4-FFF2-40B4-BE49-F238E27FC236}">
                <a16:creationId xmlns:a16="http://schemas.microsoft.com/office/drawing/2014/main" id="{CCC3C32E-04FC-354F-A7A9-E5D4D8741A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4508500"/>
            <a:ext cx="6248400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Transparenz durch Evaluation und CHE-Ranking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68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68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8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768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8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768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8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768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805" grpId="0"/>
      <p:bldP spid="76806" grpId="0"/>
      <p:bldP spid="7680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8934EFF8-953B-9C45-90A2-DF87D0F6A4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EC945FA1-573B-8D41-B02E-B976180E30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0B629F2-6539-6740-BFCE-F76DFEF67AD1}" type="slidenum">
              <a:rPr lang="de-DE" altLang="de-DE"/>
              <a:pPr/>
              <a:t>3</a:t>
            </a:fld>
            <a:endParaRPr lang="de-DE" altLang="de-DE"/>
          </a:p>
        </p:txBody>
      </p:sp>
      <p:sp>
        <p:nvSpPr>
          <p:cNvPr id="49154" name="Rectangle 2">
            <a:extLst>
              <a:ext uri="{FF2B5EF4-FFF2-40B4-BE49-F238E27FC236}">
                <a16:creationId xmlns:a16="http://schemas.microsoft.com/office/drawing/2014/main" id="{7BAF4AB0-F2B5-6443-8340-155F3EEE298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de-DE" altLang="de-DE"/>
          </a:p>
        </p:txBody>
      </p:sp>
      <p:pic>
        <p:nvPicPr>
          <p:cNvPr id="49157" name="Picture 5">
            <a:extLst>
              <a:ext uri="{FF2B5EF4-FFF2-40B4-BE49-F238E27FC236}">
                <a16:creationId xmlns:a16="http://schemas.microsoft.com/office/drawing/2014/main" id="{8661ED16-E882-394E-8CF9-EE65BD4ACD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776288"/>
            <a:ext cx="8039100" cy="567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159" name="Picture 7">
            <a:extLst>
              <a:ext uri="{FF2B5EF4-FFF2-40B4-BE49-F238E27FC236}">
                <a16:creationId xmlns:a16="http://schemas.microsoft.com/office/drawing/2014/main" id="{5814F64B-2038-9941-AD1B-EBF5715A69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200" y="3789363"/>
            <a:ext cx="1255713" cy="700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161" name="Picture 9">
            <a:extLst>
              <a:ext uri="{FF2B5EF4-FFF2-40B4-BE49-F238E27FC236}">
                <a16:creationId xmlns:a16="http://schemas.microsoft.com/office/drawing/2014/main" id="{8414F59B-C438-5B44-9AC6-EECBFF6A41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3808413"/>
            <a:ext cx="1108075" cy="62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162" name="Picture 10">
            <a:extLst>
              <a:ext uri="{FF2B5EF4-FFF2-40B4-BE49-F238E27FC236}">
                <a16:creationId xmlns:a16="http://schemas.microsoft.com/office/drawing/2014/main" id="{CF364242-B962-4E4A-8CD8-F3F987D947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4175" y="4002088"/>
            <a:ext cx="1195388" cy="434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2000"/>
                                        <p:tgtEl>
                                          <p:spTgt spid="49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49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000" fill="hold"/>
                                        <p:tgtEl>
                                          <p:spTgt spid="49161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9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49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1" dur="3000" fill="hold"/>
                                        <p:tgtEl>
                                          <p:spTgt spid="49159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9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91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491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49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0" dur="2000" fill="hold"/>
                                        <p:tgtEl>
                                          <p:spTgt spid="49162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9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E4384A43-2F9D-C944-BA7B-561EE5AB54E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C3407933-8528-234D-8891-80AFD6E7DA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C356E1-FC60-E04F-9708-6F6D3E8C6604}" type="slidenum">
              <a:rPr lang="de-DE" altLang="de-DE"/>
              <a:pPr/>
              <a:t>30</a:t>
            </a:fld>
            <a:endParaRPr lang="de-DE" altLang="de-DE"/>
          </a:p>
        </p:txBody>
      </p:sp>
      <p:sp>
        <p:nvSpPr>
          <p:cNvPr id="78850" name="Text Box 2">
            <a:extLst>
              <a:ext uri="{FF2B5EF4-FFF2-40B4-BE49-F238E27FC236}">
                <a16:creationId xmlns:a16="http://schemas.microsoft.com/office/drawing/2014/main" id="{12498E72-2ED3-8747-B5DA-26ACA4E5D0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78851" name="Rectangle 3">
            <a:extLst>
              <a:ext uri="{FF2B5EF4-FFF2-40B4-BE49-F238E27FC236}">
                <a16:creationId xmlns:a16="http://schemas.microsoft.com/office/drawing/2014/main" id="{BC2C9337-8FA0-484D-A423-02B1598D5D8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57425" y="115888"/>
            <a:ext cx="5267325" cy="685800"/>
          </a:xfrm>
        </p:spPr>
        <p:txBody>
          <a:bodyPr/>
          <a:lstStyle/>
          <a:p>
            <a:r>
              <a:rPr lang="de-DE" altLang="de-DE" sz="3200" b="1">
                <a:solidFill>
                  <a:srgbClr val="000000"/>
                </a:solidFill>
              </a:rPr>
              <a:t>wirtschaftlich</a:t>
            </a:r>
          </a:p>
        </p:txBody>
      </p:sp>
      <p:graphicFrame>
        <p:nvGraphicFramePr>
          <p:cNvPr id="78852" name="Object 4">
            <a:extLst>
              <a:ext uri="{FF2B5EF4-FFF2-40B4-BE49-F238E27FC236}">
                <a16:creationId xmlns:a16="http://schemas.microsoft.com/office/drawing/2014/main" id="{43A18979-4566-C145-9734-4AB33F18E1FC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6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853" name="Rectangle 5">
            <a:extLst>
              <a:ext uri="{FF2B5EF4-FFF2-40B4-BE49-F238E27FC236}">
                <a16:creationId xmlns:a16="http://schemas.microsoft.com/office/drawing/2014/main" id="{964B032A-A5FE-3747-BDCE-ADA26B3C88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2276475"/>
            <a:ext cx="5757862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Leistungsfinanzierung</a:t>
            </a:r>
          </a:p>
        </p:txBody>
      </p:sp>
      <p:sp>
        <p:nvSpPr>
          <p:cNvPr id="78854" name="Rectangle 6">
            <a:extLst>
              <a:ext uri="{FF2B5EF4-FFF2-40B4-BE49-F238E27FC236}">
                <a16:creationId xmlns:a16="http://schemas.microsoft.com/office/drawing/2014/main" id="{1E47D768-683F-2148-A5DD-6A3224B34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3716338"/>
            <a:ext cx="5757862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Globalbudgets</a:t>
            </a:r>
          </a:p>
        </p:txBody>
      </p:sp>
      <p:sp>
        <p:nvSpPr>
          <p:cNvPr id="78855" name="Rectangle 7">
            <a:extLst>
              <a:ext uri="{FF2B5EF4-FFF2-40B4-BE49-F238E27FC236}">
                <a16:creationId xmlns:a16="http://schemas.microsoft.com/office/drawing/2014/main" id="{ED1AC085-5E7E-A742-82A9-BAB69F29E7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5157788"/>
            <a:ext cx="5757862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Studienbeiträg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88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88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788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788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788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853" grpId="0"/>
      <p:bldP spid="78854" grpId="0"/>
      <p:bldP spid="78855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51E797CA-1BF8-8D4C-9167-ED2CC94FE75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82B193F1-BA46-6A4A-A7B5-3FA9A7C71C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45C72D-B529-4F41-8804-E398B49D0567}" type="slidenum">
              <a:rPr lang="de-DE" altLang="de-DE"/>
              <a:pPr/>
              <a:t>31</a:t>
            </a:fld>
            <a:endParaRPr lang="de-DE" altLang="de-DE"/>
          </a:p>
        </p:txBody>
      </p:sp>
      <p:sp>
        <p:nvSpPr>
          <p:cNvPr id="80898" name="Text Box 2">
            <a:extLst>
              <a:ext uri="{FF2B5EF4-FFF2-40B4-BE49-F238E27FC236}">
                <a16:creationId xmlns:a16="http://schemas.microsoft.com/office/drawing/2014/main" id="{B2FBA4A1-A117-D140-B790-D9537DBD27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80899" name="Rectangle 3">
            <a:extLst>
              <a:ext uri="{FF2B5EF4-FFF2-40B4-BE49-F238E27FC236}">
                <a16:creationId xmlns:a16="http://schemas.microsoft.com/office/drawing/2014/main" id="{9106CBC9-5893-EE49-8518-A5394EAA741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229225" cy="685800"/>
          </a:xfrm>
        </p:spPr>
        <p:txBody>
          <a:bodyPr/>
          <a:lstStyle/>
          <a:p>
            <a:r>
              <a:rPr lang="de-DE" altLang="de-DE" sz="3200" b="1">
                <a:solidFill>
                  <a:srgbClr val="000000"/>
                </a:solidFill>
              </a:rPr>
              <a:t>international</a:t>
            </a:r>
          </a:p>
        </p:txBody>
      </p:sp>
      <p:graphicFrame>
        <p:nvGraphicFramePr>
          <p:cNvPr id="80900" name="Object 4">
            <a:extLst>
              <a:ext uri="{FF2B5EF4-FFF2-40B4-BE49-F238E27FC236}">
                <a16:creationId xmlns:a16="http://schemas.microsoft.com/office/drawing/2014/main" id="{9FFB03F8-C427-B546-9AF5-E6F47BBD4546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4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901" name="Rectangle 5">
            <a:extLst>
              <a:ext uri="{FF2B5EF4-FFF2-40B4-BE49-F238E27FC236}">
                <a16:creationId xmlns:a16="http://schemas.microsoft.com/office/drawing/2014/main" id="{B31CA451-D4A5-2A40-BF5F-9AFC6F3774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1844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Bachelor / Master System</a:t>
            </a:r>
          </a:p>
        </p:txBody>
      </p:sp>
      <p:sp>
        <p:nvSpPr>
          <p:cNvPr id="80902" name="Rectangle 6">
            <a:extLst>
              <a:ext uri="{FF2B5EF4-FFF2-40B4-BE49-F238E27FC236}">
                <a16:creationId xmlns:a16="http://schemas.microsoft.com/office/drawing/2014/main" id="{C59EE24B-A4D0-6841-9BF5-8C86D88F48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501332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internationale Benchmarks in der Lehre</a:t>
            </a:r>
          </a:p>
        </p:txBody>
      </p:sp>
      <p:sp>
        <p:nvSpPr>
          <p:cNvPr id="80903" name="Rectangle 7">
            <a:extLst>
              <a:ext uri="{FF2B5EF4-FFF2-40B4-BE49-F238E27FC236}">
                <a16:creationId xmlns:a16="http://schemas.microsoft.com/office/drawing/2014/main" id="{5D2A2173-F03A-9243-AE4F-EE8D60C505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3429000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hohe Zahl ausl. Studierender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09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09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809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809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809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901" grpId="0"/>
      <p:bldP spid="80902" grpId="0"/>
      <p:bldP spid="80903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B4430F44-D5C8-8F43-BB8D-B35B68859F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12" name="Foliennummernplatzhalter 3">
            <a:extLst>
              <a:ext uri="{FF2B5EF4-FFF2-40B4-BE49-F238E27FC236}">
                <a16:creationId xmlns:a16="http://schemas.microsoft.com/office/drawing/2014/main" id="{7D2A6DEC-AB5D-B542-93F6-97C6AF9E0F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24C9D9-9F1D-ED4F-81A1-3AB30B374ACB}" type="slidenum">
              <a:rPr lang="de-DE" altLang="de-DE"/>
              <a:pPr/>
              <a:t>32</a:t>
            </a:fld>
            <a:endParaRPr lang="de-DE" altLang="de-DE"/>
          </a:p>
        </p:txBody>
      </p:sp>
      <p:sp>
        <p:nvSpPr>
          <p:cNvPr id="89090" name="Text Box 2">
            <a:extLst>
              <a:ext uri="{FF2B5EF4-FFF2-40B4-BE49-F238E27FC236}">
                <a16:creationId xmlns:a16="http://schemas.microsoft.com/office/drawing/2014/main" id="{0BAB98CD-AF42-2645-9236-5B46342366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89091" name="Rectangle 3">
            <a:extLst>
              <a:ext uri="{FF2B5EF4-FFF2-40B4-BE49-F238E27FC236}">
                <a16:creationId xmlns:a16="http://schemas.microsoft.com/office/drawing/2014/main" id="{AA6E65A3-ED20-8C42-9E11-EDBB3E7DEBD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191125" cy="685800"/>
          </a:xfrm>
        </p:spPr>
        <p:txBody>
          <a:bodyPr/>
          <a:lstStyle/>
          <a:p>
            <a:r>
              <a:rPr lang="de-DE" altLang="de-DE" sz="3200" b="1">
                <a:solidFill>
                  <a:srgbClr val="000000"/>
                </a:solidFill>
              </a:rPr>
              <a:t>virtuell</a:t>
            </a:r>
          </a:p>
        </p:txBody>
      </p:sp>
      <p:graphicFrame>
        <p:nvGraphicFramePr>
          <p:cNvPr id="89092" name="Object 4">
            <a:extLst>
              <a:ext uri="{FF2B5EF4-FFF2-40B4-BE49-F238E27FC236}">
                <a16:creationId xmlns:a16="http://schemas.microsoft.com/office/drawing/2014/main" id="{34A195D0-403B-074A-81A7-FD8D1B30D253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00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093" name="Text Box 5">
            <a:extLst>
              <a:ext uri="{FF2B5EF4-FFF2-40B4-BE49-F238E27FC236}">
                <a16:creationId xmlns:a16="http://schemas.microsoft.com/office/drawing/2014/main" id="{7140EED3-E713-7A45-AB82-7B216A2041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3563938"/>
            <a:ext cx="2905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buFontTx/>
              <a:buChar char="•"/>
            </a:pPr>
            <a:endParaRPr lang="de-DE" altLang="de-DE" sz="2400" b="1">
              <a:latin typeface="Times New Roman" panose="02020603050405020304" pitchFamily="18" charset="0"/>
            </a:endParaRPr>
          </a:p>
        </p:txBody>
      </p:sp>
      <p:sp>
        <p:nvSpPr>
          <p:cNvPr id="89094" name="Text Box 6">
            <a:extLst>
              <a:ext uri="{FF2B5EF4-FFF2-40B4-BE49-F238E27FC236}">
                <a16:creationId xmlns:a16="http://schemas.microsoft.com/office/drawing/2014/main" id="{836BF5EB-E387-4D4D-A9C9-37EF05C389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2624138"/>
            <a:ext cx="2905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buFontTx/>
              <a:buChar char="•"/>
            </a:pPr>
            <a:endParaRPr lang="de-DE" altLang="de-DE" sz="2400" b="1">
              <a:latin typeface="Times New Roman" panose="02020603050405020304" pitchFamily="18" charset="0"/>
            </a:endParaRPr>
          </a:p>
        </p:txBody>
      </p:sp>
      <p:sp>
        <p:nvSpPr>
          <p:cNvPr id="89095" name="Text Box 7">
            <a:extLst>
              <a:ext uri="{FF2B5EF4-FFF2-40B4-BE49-F238E27FC236}">
                <a16:creationId xmlns:a16="http://schemas.microsoft.com/office/drawing/2014/main" id="{1844476F-47AA-A143-98EB-17238C9E57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503738"/>
            <a:ext cx="2905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buFontTx/>
              <a:buChar char="•"/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89096" name="Text Box 8">
            <a:extLst>
              <a:ext uri="{FF2B5EF4-FFF2-40B4-BE49-F238E27FC236}">
                <a16:creationId xmlns:a16="http://schemas.microsoft.com/office/drawing/2014/main" id="{B8E9A985-E239-AD4B-B2C4-76650ADF27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5443538"/>
            <a:ext cx="2905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buFontTx/>
              <a:buChar char="•"/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89097" name="Rectangle 9">
            <a:extLst>
              <a:ext uri="{FF2B5EF4-FFF2-40B4-BE49-F238E27FC236}">
                <a16:creationId xmlns:a16="http://schemas.microsoft.com/office/drawing/2014/main" id="{50AC85DF-D9AC-5549-A30D-06F1FFEE98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2286000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E-learning durch Programme gefördert</a:t>
            </a:r>
          </a:p>
        </p:txBody>
      </p:sp>
      <p:sp>
        <p:nvSpPr>
          <p:cNvPr id="89098" name="Rectangle 10">
            <a:extLst>
              <a:ext uri="{FF2B5EF4-FFF2-40B4-BE49-F238E27FC236}">
                <a16:creationId xmlns:a16="http://schemas.microsoft.com/office/drawing/2014/main" id="{5B0BADE5-DE37-8146-824D-017B2BB60B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3429000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regulärer Teil der Curricula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0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90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90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0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90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90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0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90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90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0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90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90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0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90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90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0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37" dur="500"/>
                                        <p:tgtEl>
                                          <p:spTgt spid="890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42" dur="500"/>
                                        <p:tgtEl>
                                          <p:spTgt spid="89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093" grpId="0" autoUpdateAnimBg="0"/>
      <p:bldP spid="89094" grpId="0" autoUpdateAnimBg="0"/>
      <p:bldP spid="89095" grpId="0" autoUpdateAnimBg="0"/>
      <p:bldP spid="89096" grpId="0" autoUpdateAnimBg="0"/>
      <p:bldP spid="89097" grpId="0"/>
      <p:bldP spid="89098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C5BFF6E4-2229-094B-B215-949638541B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85085202-5D9D-014C-AD20-5DEC2F7980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7AB29F-BD55-9346-956D-FC496C135123}" type="slidenum">
              <a:rPr lang="de-DE" altLang="de-DE"/>
              <a:pPr/>
              <a:t>33</a:t>
            </a:fld>
            <a:endParaRPr lang="de-DE" altLang="de-DE"/>
          </a:p>
        </p:txBody>
      </p:sp>
      <p:sp>
        <p:nvSpPr>
          <p:cNvPr id="82946" name="Text Box 2">
            <a:extLst>
              <a:ext uri="{FF2B5EF4-FFF2-40B4-BE49-F238E27FC236}">
                <a16:creationId xmlns:a16="http://schemas.microsoft.com/office/drawing/2014/main" id="{98F769EC-7E56-0647-BCB6-82FD9D3792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82947" name="Rectangle 3">
            <a:extLst>
              <a:ext uri="{FF2B5EF4-FFF2-40B4-BE49-F238E27FC236}">
                <a16:creationId xmlns:a16="http://schemas.microsoft.com/office/drawing/2014/main" id="{8E957CD7-97A9-2441-8C5F-CFD6D15B2FB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254625" cy="685800"/>
          </a:xfrm>
        </p:spPr>
        <p:txBody>
          <a:bodyPr/>
          <a:lstStyle/>
          <a:p>
            <a:r>
              <a:rPr lang="de-DE" altLang="de-DE" sz="3200" b="1">
                <a:solidFill>
                  <a:srgbClr val="000000"/>
                </a:solidFill>
              </a:rPr>
              <a:t>profiliert</a:t>
            </a:r>
          </a:p>
        </p:txBody>
      </p:sp>
      <p:graphicFrame>
        <p:nvGraphicFramePr>
          <p:cNvPr id="82948" name="Object 4">
            <a:extLst>
              <a:ext uri="{FF2B5EF4-FFF2-40B4-BE49-F238E27FC236}">
                <a16:creationId xmlns:a16="http://schemas.microsoft.com/office/drawing/2014/main" id="{C335A708-85ED-6D47-8D14-F40EE03DB455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3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949" name="Rectangle 5">
            <a:extLst>
              <a:ext uri="{FF2B5EF4-FFF2-40B4-BE49-F238E27FC236}">
                <a16:creationId xmlns:a16="http://schemas.microsoft.com/office/drawing/2014/main" id="{1D483402-7A8A-624A-B94D-B898B2CDA8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1844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allgemein akzeptiertes Ziel</a:t>
            </a:r>
          </a:p>
        </p:txBody>
      </p:sp>
      <p:sp>
        <p:nvSpPr>
          <p:cNvPr id="82950" name="Rectangle 6">
            <a:extLst>
              <a:ext uri="{FF2B5EF4-FFF2-40B4-BE49-F238E27FC236}">
                <a16:creationId xmlns:a16="http://schemas.microsoft.com/office/drawing/2014/main" id="{1E7D9D5C-C2AE-E347-A56D-FE1F6586A6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2900363"/>
            <a:ext cx="6248400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Stärken-/Schwächenanalysen</a:t>
            </a:r>
          </a:p>
        </p:txBody>
      </p:sp>
      <p:sp>
        <p:nvSpPr>
          <p:cNvPr id="82951" name="Rectangle 7">
            <a:extLst>
              <a:ext uri="{FF2B5EF4-FFF2-40B4-BE49-F238E27FC236}">
                <a16:creationId xmlns:a16="http://schemas.microsoft.com/office/drawing/2014/main" id="{1B014B3E-6D06-FF47-92A4-BB59C3E738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6238" y="3956050"/>
            <a:ext cx="5757862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Mission statement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9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29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29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9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829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9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829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9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829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949" grpId="0"/>
      <p:bldP spid="82950" grpId="0"/>
      <p:bldP spid="82951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62CD2C28-0C23-5048-88C8-28428E7F6B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399FE2AE-DC2B-2845-A633-3E5C224687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50E939-2495-024C-919D-DC060BF2DEB9}" type="slidenum">
              <a:rPr lang="de-DE" altLang="de-DE"/>
              <a:pPr/>
              <a:t>34</a:t>
            </a:fld>
            <a:endParaRPr lang="de-DE" altLang="de-DE"/>
          </a:p>
        </p:txBody>
      </p:sp>
      <p:sp>
        <p:nvSpPr>
          <p:cNvPr id="84994" name="Text Box 2">
            <a:extLst>
              <a:ext uri="{FF2B5EF4-FFF2-40B4-BE49-F238E27FC236}">
                <a16:creationId xmlns:a16="http://schemas.microsoft.com/office/drawing/2014/main" id="{728380C4-CFA6-1144-BD57-2FE5C3F32B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84995" name="Rectangle 3">
            <a:extLst>
              <a:ext uri="{FF2B5EF4-FFF2-40B4-BE49-F238E27FC236}">
                <a16:creationId xmlns:a16="http://schemas.microsoft.com/office/drawing/2014/main" id="{04717CA8-D655-1E40-9967-E62DF5EC279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089525" cy="685800"/>
          </a:xfrm>
          <a:noFill/>
          <a:ln/>
        </p:spPr>
        <p:txBody>
          <a:bodyPr/>
          <a:lstStyle/>
          <a:p>
            <a:r>
              <a:rPr lang="de-DE" altLang="de-DE" sz="3200" b="1">
                <a:solidFill>
                  <a:srgbClr val="000000"/>
                </a:solidFill>
              </a:rPr>
              <a:t>wissenschaftlich</a:t>
            </a:r>
          </a:p>
        </p:txBody>
      </p:sp>
      <p:graphicFrame>
        <p:nvGraphicFramePr>
          <p:cNvPr id="84996" name="Object 4">
            <a:extLst>
              <a:ext uri="{FF2B5EF4-FFF2-40B4-BE49-F238E27FC236}">
                <a16:creationId xmlns:a16="http://schemas.microsoft.com/office/drawing/2014/main" id="{452EF018-0683-804A-9482-4E3D2CAA13F9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0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997" name="Rectangle 5">
            <a:extLst>
              <a:ext uri="{FF2B5EF4-FFF2-40B4-BE49-F238E27FC236}">
                <a16:creationId xmlns:a16="http://schemas.microsoft.com/office/drawing/2014/main" id="{03640005-F977-B845-8B3A-F8351C1701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1844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anerkanntes Paradigma</a:t>
            </a:r>
          </a:p>
        </p:txBody>
      </p:sp>
      <p:sp>
        <p:nvSpPr>
          <p:cNvPr id="84998" name="Rectangle 6">
            <a:extLst>
              <a:ext uri="{FF2B5EF4-FFF2-40B4-BE49-F238E27FC236}">
                <a16:creationId xmlns:a16="http://schemas.microsoft.com/office/drawing/2014/main" id="{A57C6D87-ACBB-0045-8EE0-AF3F4DFB3F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2987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Leistung, Exzellenz, Qualität</a:t>
            </a:r>
          </a:p>
        </p:txBody>
      </p:sp>
      <p:sp>
        <p:nvSpPr>
          <p:cNvPr id="84999" name="Rectangle 7">
            <a:extLst>
              <a:ext uri="{FF2B5EF4-FFF2-40B4-BE49-F238E27FC236}">
                <a16:creationId xmlns:a16="http://schemas.microsoft.com/office/drawing/2014/main" id="{B15DD429-96E6-3742-B5F7-22F6A89E93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4302125"/>
            <a:ext cx="5757862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Qualitäts-Management</a:t>
            </a:r>
          </a:p>
        </p:txBody>
      </p:sp>
    </p:spTree>
  </p:cSld>
  <p:clrMapOvr>
    <a:masterClrMapping/>
  </p:clrMapOvr>
  <p:transition spd="med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9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49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49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9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849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9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849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9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849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997" grpId="0"/>
      <p:bldP spid="84998" grpId="0"/>
      <p:bldP spid="84999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CDADCDE4-202E-4B4D-85DE-6B3B5C6DEA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76F780F8-D14D-D74E-95E2-A8352283E5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B5128B-6D95-8F4A-BBB5-468CB08DD672}" type="slidenum">
              <a:rPr lang="de-DE" altLang="de-DE"/>
              <a:pPr/>
              <a:t>35</a:t>
            </a:fld>
            <a:endParaRPr lang="de-DE" altLang="de-DE"/>
          </a:p>
        </p:txBody>
      </p:sp>
      <p:sp>
        <p:nvSpPr>
          <p:cNvPr id="87042" name="Text Box 2">
            <a:extLst>
              <a:ext uri="{FF2B5EF4-FFF2-40B4-BE49-F238E27FC236}">
                <a16:creationId xmlns:a16="http://schemas.microsoft.com/office/drawing/2014/main" id="{BA8BF600-261C-7043-9B06-250BC2A8CF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sz="2400">
              <a:latin typeface="Times New Roman" panose="02020603050405020304" pitchFamily="18" charset="0"/>
            </a:endParaRPr>
          </a:p>
        </p:txBody>
      </p:sp>
      <p:sp>
        <p:nvSpPr>
          <p:cNvPr id="87043" name="Rectangle 3">
            <a:extLst>
              <a:ext uri="{FF2B5EF4-FFF2-40B4-BE49-F238E27FC236}">
                <a16:creationId xmlns:a16="http://schemas.microsoft.com/office/drawing/2014/main" id="{B5A8A307-F17D-7C4D-A684-D27924D38D7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241925" cy="685800"/>
          </a:xfrm>
        </p:spPr>
        <p:txBody>
          <a:bodyPr/>
          <a:lstStyle/>
          <a:p>
            <a:r>
              <a:rPr lang="de-DE" altLang="de-DE" sz="3200" b="1">
                <a:solidFill>
                  <a:srgbClr val="000000"/>
                </a:solidFill>
              </a:rPr>
              <a:t>autonom</a:t>
            </a:r>
          </a:p>
        </p:txBody>
      </p:sp>
      <p:graphicFrame>
        <p:nvGraphicFramePr>
          <p:cNvPr id="87044" name="Object 4">
            <a:extLst>
              <a:ext uri="{FF2B5EF4-FFF2-40B4-BE49-F238E27FC236}">
                <a16:creationId xmlns:a16="http://schemas.microsoft.com/office/drawing/2014/main" id="{4AFF1E76-897A-3842-9BD0-96FFBE485D32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8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045" name="Rectangle 5">
            <a:extLst>
              <a:ext uri="{FF2B5EF4-FFF2-40B4-BE49-F238E27FC236}">
                <a16:creationId xmlns:a16="http://schemas.microsoft.com/office/drawing/2014/main" id="{1BE916FE-4A44-B44C-9892-623E3820DE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1844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anerkannter Leitgedanke der Politik</a:t>
            </a:r>
          </a:p>
        </p:txBody>
      </p:sp>
      <p:sp>
        <p:nvSpPr>
          <p:cNvPr id="87046" name="Rectangle 6">
            <a:extLst>
              <a:ext uri="{FF2B5EF4-FFF2-40B4-BE49-F238E27FC236}">
                <a16:creationId xmlns:a16="http://schemas.microsoft.com/office/drawing/2014/main" id="{B8008C8D-AC5E-5542-B4BF-5450750D5B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2971800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neue Leitungsstrukturen</a:t>
            </a:r>
          </a:p>
        </p:txBody>
      </p:sp>
      <p:sp>
        <p:nvSpPr>
          <p:cNvPr id="87047" name="Rectangle 7">
            <a:extLst>
              <a:ext uri="{FF2B5EF4-FFF2-40B4-BE49-F238E27FC236}">
                <a16:creationId xmlns:a16="http://schemas.microsoft.com/office/drawing/2014/main" id="{4998A6F5-3055-644C-97C9-58A4404A9F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4100513"/>
            <a:ext cx="5757863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 b="1"/>
              <a:t>Ziel- und Leistungsvereinbarunge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70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70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0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870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0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870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0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870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045" grpId="0"/>
      <p:bldP spid="87046" grpId="0"/>
      <p:bldP spid="87047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2CBF00A-5DE8-764C-95E4-D7D83E5DB5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F96E905-B83B-2C4A-A275-DB7D6FE32F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F760A2-1F2F-5348-A37F-BD19510E077C}" type="slidenum">
              <a:rPr lang="de-DE" altLang="de-DE"/>
              <a:pPr/>
              <a:t>36</a:t>
            </a:fld>
            <a:endParaRPr lang="de-DE" altLang="de-DE"/>
          </a:p>
        </p:txBody>
      </p:sp>
      <p:sp>
        <p:nvSpPr>
          <p:cNvPr id="109570" name="Rectangle 2">
            <a:extLst>
              <a:ext uri="{FF2B5EF4-FFF2-40B4-BE49-F238E27FC236}">
                <a16:creationId xmlns:a16="http://schemas.microsoft.com/office/drawing/2014/main" id="{4749D8B5-A518-F547-98CA-C4BF12C2E26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de-DE" altLang="de-DE"/>
          </a:p>
        </p:txBody>
      </p:sp>
      <p:sp>
        <p:nvSpPr>
          <p:cNvPr id="109571" name="Rectangle 3">
            <a:extLst>
              <a:ext uri="{FF2B5EF4-FFF2-40B4-BE49-F238E27FC236}">
                <a16:creationId xmlns:a16="http://schemas.microsoft.com/office/drawing/2014/main" id="{C5D3461D-8E5B-5C46-9A05-2D6BCE3F2F1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57200" y="2492375"/>
            <a:ext cx="8435975" cy="2376488"/>
          </a:xfrm>
        </p:spPr>
        <p:txBody>
          <a:bodyPr/>
          <a:lstStyle/>
          <a:p>
            <a:pPr algn="ctr">
              <a:buFont typeface="Wingdings" pitchFamily="2" charset="2"/>
              <a:buNone/>
            </a:pPr>
            <a:r>
              <a:rPr lang="de-DE" altLang="de-DE" sz="4000"/>
              <a:t>Bildungsgerechtigkeit</a:t>
            </a:r>
            <a:br>
              <a:rPr lang="de-DE" altLang="de-DE" sz="4000"/>
            </a:br>
            <a:r>
              <a:rPr lang="de-DE" altLang="de-DE" sz="4000"/>
              <a:t>kann und muss gelingen!</a:t>
            </a:r>
          </a:p>
          <a:p>
            <a:pPr algn="ctr">
              <a:buFont typeface="Wingdings" pitchFamily="2" charset="2"/>
              <a:buNone/>
            </a:pPr>
            <a:r>
              <a:rPr lang="de-DE" altLang="de-DE" sz="4000"/>
              <a:t>Die junge Generation ist es wert!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5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095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95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095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5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95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95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95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571" grpId="0" uiExpand="1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2E9599-B8DE-7443-940C-2BF23798DE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DAB34EE-ED1C-F54C-A0F9-5DCD3A5646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0E6B10-A1B4-2D40-89A6-7C64CF41BF2B}" type="slidenum">
              <a:rPr lang="de-DE" altLang="de-DE"/>
              <a:pPr/>
              <a:t>37</a:t>
            </a:fld>
            <a:endParaRPr lang="de-DE" altLang="de-DE"/>
          </a:p>
        </p:txBody>
      </p:sp>
      <p:sp>
        <p:nvSpPr>
          <p:cNvPr id="50178" name="Rectangle 2">
            <a:extLst>
              <a:ext uri="{FF2B5EF4-FFF2-40B4-BE49-F238E27FC236}">
                <a16:creationId xmlns:a16="http://schemas.microsoft.com/office/drawing/2014/main" id="{8033CD8C-B07F-764F-97E7-06ECF486F9A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de-DE" altLang="de-DE"/>
          </a:p>
        </p:txBody>
      </p:sp>
      <p:pic>
        <p:nvPicPr>
          <p:cNvPr id="50180" name="Picture 4">
            <a:extLst>
              <a:ext uri="{FF2B5EF4-FFF2-40B4-BE49-F238E27FC236}">
                <a16:creationId xmlns:a16="http://schemas.microsoft.com/office/drawing/2014/main" id="{CABC7CAC-E980-D340-B4F4-B89B69EFC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765175"/>
            <a:ext cx="8820150" cy="578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50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4E501981-52DA-6F40-B45C-4947669087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6" name="Foliennummernplatzhalter 4">
            <a:extLst>
              <a:ext uri="{FF2B5EF4-FFF2-40B4-BE49-F238E27FC236}">
                <a16:creationId xmlns:a16="http://schemas.microsoft.com/office/drawing/2014/main" id="{28E16093-CACA-E144-96F1-DA83DF0021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4E0621-BDF8-824E-91CF-F598884FFD11}" type="slidenum">
              <a:rPr lang="de-DE" altLang="de-DE"/>
              <a:pPr/>
              <a:t>4</a:t>
            </a:fld>
            <a:endParaRPr lang="de-DE" altLang="de-DE"/>
          </a:p>
        </p:txBody>
      </p:sp>
      <p:sp>
        <p:nvSpPr>
          <p:cNvPr id="68610" name="Rectangle 2">
            <a:extLst>
              <a:ext uri="{FF2B5EF4-FFF2-40B4-BE49-F238E27FC236}">
                <a16:creationId xmlns:a16="http://schemas.microsoft.com/office/drawing/2014/main" id="{FE99EB85-9B45-4A43-B49C-7738F782178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3 Botschaften</a:t>
            </a:r>
          </a:p>
        </p:txBody>
      </p:sp>
      <p:sp>
        <p:nvSpPr>
          <p:cNvPr id="68611" name="Rectangle 3">
            <a:extLst>
              <a:ext uri="{FF2B5EF4-FFF2-40B4-BE49-F238E27FC236}">
                <a16:creationId xmlns:a16="http://schemas.microsoft.com/office/drawing/2014/main" id="{0CD9C27A-6276-B749-9740-7915359F878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042988" y="1639888"/>
            <a:ext cx="7643812" cy="4525962"/>
          </a:xfrm>
        </p:spPr>
        <p:txBody>
          <a:bodyPr/>
          <a:lstStyle/>
          <a:p>
            <a:r>
              <a:rPr lang="de-DE" altLang="de-DE" sz="3200"/>
              <a:t>Wir verteilen Bildung ungerecht.</a:t>
            </a:r>
            <a:br>
              <a:rPr lang="de-DE" altLang="de-DE" sz="3200"/>
            </a:br>
            <a:endParaRPr lang="de-DE" altLang="de-DE" sz="3200"/>
          </a:p>
          <a:p>
            <a:r>
              <a:rPr lang="de-DE" altLang="de-DE" sz="3200"/>
              <a:t>Wir schöpfen unsere Ressourcen nicht aus.</a:t>
            </a:r>
            <a:br>
              <a:rPr lang="de-DE" altLang="de-DE" sz="3200"/>
            </a:br>
            <a:endParaRPr lang="de-DE" altLang="de-DE" sz="3200"/>
          </a:p>
          <a:p>
            <a:r>
              <a:rPr lang="de-DE" altLang="de-DE" sz="3200"/>
              <a:t>Reform kann gelingen!</a:t>
            </a:r>
          </a:p>
        </p:txBody>
      </p:sp>
      <p:sp>
        <p:nvSpPr>
          <p:cNvPr id="68612" name="Rectangle 4">
            <a:extLst>
              <a:ext uri="{FF2B5EF4-FFF2-40B4-BE49-F238E27FC236}">
                <a16:creationId xmlns:a16="http://schemas.microsoft.com/office/drawing/2014/main" id="{45EF6672-0132-C043-8459-0A231AE04E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7088" y="2708275"/>
            <a:ext cx="7993062" cy="2592388"/>
          </a:xfrm>
          <a:prstGeom prst="rect">
            <a:avLst/>
          </a:prstGeom>
          <a:solidFill>
            <a:schemeClr val="accent1">
              <a:alpha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86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86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7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86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86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7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686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686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686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86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686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611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Fußzeilenplatzhalter 1">
            <a:extLst>
              <a:ext uri="{FF2B5EF4-FFF2-40B4-BE49-F238E27FC236}">
                <a16:creationId xmlns:a16="http://schemas.microsoft.com/office/drawing/2014/main" id="{8E9358F9-EE82-6B42-8B79-C6B61C10FA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175" name="Foliennummernplatzhalter 2">
            <a:extLst>
              <a:ext uri="{FF2B5EF4-FFF2-40B4-BE49-F238E27FC236}">
                <a16:creationId xmlns:a16="http://schemas.microsoft.com/office/drawing/2014/main" id="{8BECEB50-CBD8-FA49-BA21-E10525D04D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B9547A-DAEC-D844-B860-36228EACD61C}" type="slidenum">
              <a:rPr lang="de-DE" altLang="de-DE"/>
              <a:pPr/>
              <a:t>5</a:t>
            </a:fld>
            <a:endParaRPr lang="de-DE" altLang="de-DE"/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7CFCBE98-02BF-DB41-8F5F-EABF76708C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9188" y="549275"/>
            <a:ext cx="2522537" cy="672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339" name="Group 3">
            <a:extLst>
              <a:ext uri="{FF2B5EF4-FFF2-40B4-BE49-F238E27FC236}">
                <a16:creationId xmlns:a16="http://schemas.microsoft.com/office/drawing/2014/main" id="{EAAD8528-C343-EC40-AC98-553AD415310F}"/>
              </a:ext>
            </a:extLst>
          </p:cNvPr>
          <p:cNvGrpSpPr>
            <a:grpSpLocks noRot="1"/>
          </p:cNvGrpSpPr>
          <p:nvPr/>
        </p:nvGrpSpPr>
        <p:grpSpPr bwMode="auto">
          <a:xfrm>
            <a:off x="2411413" y="860425"/>
            <a:ext cx="2719387" cy="5699125"/>
            <a:chOff x="0" y="96"/>
            <a:chExt cx="2240" cy="4097"/>
          </a:xfrm>
        </p:grpSpPr>
        <p:sp>
          <p:nvSpPr>
            <p:cNvPr id="14340" name="Rectangle 4">
              <a:extLst>
                <a:ext uri="{FF2B5EF4-FFF2-40B4-BE49-F238E27FC236}">
                  <a16:creationId xmlns:a16="http://schemas.microsoft.com/office/drawing/2014/main" id="{6AFF53C8-DF61-9443-90D1-D3BD66160F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4000"/>
              <a:ext cx="467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t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100</a:t>
              </a:r>
            </a:p>
          </p:txBody>
        </p:sp>
        <p:sp>
          <p:nvSpPr>
            <p:cNvPr id="14341" name="Rectangle 5">
              <a:extLst>
                <a:ext uri="{FF2B5EF4-FFF2-40B4-BE49-F238E27FC236}">
                  <a16:creationId xmlns:a16="http://schemas.microsoft.com/office/drawing/2014/main" id="{2E56990A-F1FD-454A-82BA-A44CA30B67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4000"/>
              <a:ext cx="457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t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00</a:t>
              </a:r>
            </a:p>
          </p:txBody>
        </p:sp>
        <p:sp>
          <p:nvSpPr>
            <p:cNvPr id="14342" name="Rectangle 6">
              <a:extLst>
                <a:ext uri="{FF2B5EF4-FFF2-40B4-BE49-F238E27FC236}">
                  <a16:creationId xmlns:a16="http://schemas.microsoft.com/office/drawing/2014/main" id="{344E10E9-CE3B-E04E-BB98-CD57B1B7E9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000"/>
              <a:ext cx="1316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OECD-Durchschnitt</a:t>
              </a:r>
            </a:p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endParaRPr lang="de-DE" altLang="de-DE" sz="1500">
                <a:cs typeface="Arial" panose="020B0604020202020204" pitchFamily="34" charset="0"/>
              </a:endParaRPr>
            </a:p>
          </p:txBody>
        </p:sp>
        <p:sp>
          <p:nvSpPr>
            <p:cNvPr id="14343" name="Rectangle 7">
              <a:extLst>
                <a:ext uri="{FF2B5EF4-FFF2-40B4-BE49-F238E27FC236}">
                  <a16:creationId xmlns:a16="http://schemas.microsoft.com/office/drawing/2014/main" id="{C8DC0C74-69C2-C649-B33B-EE7FBF5F38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3867"/>
              <a:ext cx="467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endParaRPr lang="de-DE" altLang="de-DE" sz="1500">
                <a:cs typeface="Arial" panose="020B0604020202020204" pitchFamily="34" charset="0"/>
              </a:endParaRPr>
            </a:p>
          </p:txBody>
        </p:sp>
        <p:sp>
          <p:nvSpPr>
            <p:cNvPr id="14344" name="Rectangle 8">
              <a:extLst>
                <a:ext uri="{FF2B5EF4-FFF2-40B4-BE49-F238E27FC236}">
                  <a16:creationId xmlns:a16="http://schemas.microsoft.com/office/drawing/2014/main" id="{DF2626B7-4310-9747-AF2E-ADE61CF592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3867"/>
              <a:ext cx="457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endParaRPr lang="de-DE" altLang="de-DE" sz="1500">
                <a:cs typeface="Arial" panose="020B0604020202020204" pitchFamily="34" charset="0"/>
              </a:endParaRPr>
            </a:p>
          </p:txBody>
        </p:sp>
        <p:sp>
          <p:nvSpPr>
            <p:cNvPr id="14345" name="Rectangle 9">
              <a:extLst>
                <a:ext uri="{FF2B5EF4-FFF2-40B4-BE49-F238E27FC236}">
                  <a16:creationId xmlns:a16="http://schemas.microsoft.com/office/drawing/2014/main" id="{2F3C3566-A4E3-464F-9F7C-003EB8F0D1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3867"/>
              <a:ext cx="1316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endParaRPr lang="de-DE" altLang="de-DE" sz="1500">
                <a:cs typeface="Arial" panose="020B0604020202020204" pitchFamily="34" charset="0"/>
              </a:endParaRPr>
            </a:p>
          </p:txBody>
        </p:sp>
        <p:sp>
          <p:nvSpPr>
            <p:cNvPr id="14346" name="Rectangle 10">
              <a:extLst>
                <a:ext uri="{FF2B5EF4-FFF2-40B4-BE49-F238E27FC236}">
                  <a16:creationId xmlns:a16="http://schemas.microsoft.com/office/drawing/2014/main" id="{909122C3-FC1C-5248-9191-E6A2EC31BC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3734"/>
              <a:ext cx="467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85</a:t>
              </a:r>
            </a:p>
          </p:txBody>
        </p:sp>
        <p:sp>
          <p:nvSpPr>
            <p:cNvPr id="14347" name="Rectangle 11">
              <a:extLst>
                <a:ext uri="{FF2B5EF4-FFF2-40B4-BE49-F238E27FC236}">
                  <a16:creationId xmlns:a16="http://schemas.microsoft.com/office/drawing/2014/main" id="{47738AC9-5E29-D94F-8D10-2076B235C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3734"/>
              <a:ext cx="457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385</a:t>
              </a:r>
            </a:p>
          </p:txBody>
        </p:sp>
        <p:sp>
          <p:nvSpPr>
            <p:cNvPr id="14348" name="Rectangle 12">
              <a:extLst>
                <a:ext uri="{FF2B5EF4-FFF2-40B4-BE49-F238E27FC236}">
                  <a16:creationId xmlns:a16="http://schemas.microsoft.com/office/drawing/2014/main" id="{0AC9A2EA-DEEC-E44B-9AB4-5EE6EF8762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3734"/>
              <a:ext cx="1316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Mexiko</a:t>
              </a:r>
            </a:p>
          </p:txBody>
        </p:sp>
        <p:sp>
          <p:nvSpPr>
            <p:cNvPr id="14349" name="Rectangle 13">
              <a:extLst>
                <a:ext uri="{FF2B5EF4-FFF2-40B4-BE49-F238E27FC236}">
                  <a16:creationId xmlns:a16="http://schemas.microsoft.com/office/drawing/2014/main" id="{F98CE7A6-AFEE-F545-B18F-24E956F6DA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3608"/>
              <a:ext cx="46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105</a:t>
              </a:r>
            </a:p>
          </p:txBody>
        </p:sp>
        <p:sp>
          <p:nvSpPr>
            <p:cNvPr id="14350" name="Rectangle 14">
              <a:extLst>
                <a:ext uri="{FF2B5EF4-FFF2-40B4-BE49-F238E27FC236}">
                  <a16:creationId xmlns:a16="http://schemas.microsoft.com/office/drawing/2014/main" id="{A152176A-5F10-614D-B5D8-9E9083D14E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3608"/>
              <a:ext cx="45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423</a:t>
              </a:r>
            </a:p>
          </p:txBody>
        </p:sp>
        <p:sp>
          <p:nvSpPr>
            <p:cNvPr id="14351" name="Rectangle 15">
              <a:extLst>
                <a:ext uri="{FF2B5EF4-FFF2-40B4-BE49-F238E27FC236}">
                  <a16:creationId xmlns:a16="http://schemas.microsoft.com/office/drawing/2014/main" id="{9A06A207-5E07-9C4B-8AA1-3496092599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3608"/>
              <a:ext cx="1316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Türkei</a:t>
              </a:r>
            </a:p>
          </p:txBody>
        </p:sp>
        <p:sp>
          <p:nvSpPr>
            <p:cNvPr id="14352" name="Rectangle 16">
              <a:extLst>
                <a:ext uri="{FF2B5EF4-FFF2-40B4-BE49-F238E27FC236}">
                  <a16:creationId xmlns:a16="http://schemas.microsoft.com/office/drawing/2014/main" id="{7927A15E-ED50-8445-A10E-09DE6156BE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3484"/>
              <a:ext cx="467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4</a:t>
              </a:r>
            </a:p>
          </p:txBody>
        </p:sp>
        <p:sp>
          <p:nvSpPr>
            <p:cNvPr id="14353" name="Rectangle 17">
              <a:extLst>
                <a:ext uri="{FF2B5EF4-FFF2-40B4-BE49-F238E27FC236}">
                  <a16:creationId xmlns:a16="http://schemas.microsoft.com/office/drawing/2014/main" id="{5D2BD564-667D-8145-A4F7-6FE009AB2E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3484"/>
              <a:ext cx="457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445</a:t>
              </a:r>
            </a:p>
          </p:txBody>
        </p:sp>
        <p:sp>
          <p:nvSpPr>
            <p:cNvPr id="14354" name="Rectangle 18">
              <a:extLst>
                <a:ext uri="{FF2B5EF4-FFF2-40B4-BE49-F238E27FC236}">
                  <a16:creationId xmlns:a16="http://schemas.microsoft.com/office/drawing/2014/main" id="{32989553-B4C4-1446-A84E-E2EB8CA68F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3484"/>
              <a:ext cx="1316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Griechenland</a:t>
              </a:r>
            </a:p>
          </p:txBody>
        </p:sp>
        <p:sp>
          <p:nvSpPr>
            <p:cNvPr id="14355" name="Rectangle 19">
              <a:extLst>
                <a:ext uri="{FF2B5EF4-FFF2-40B4-BE49-F238E27FC236}">
                  <a16:creationId xmlns:a16="http://schemas.microsoft.com/office/drawing/2014/main" id="{66A2D9DF-A600-FC4F-B189-167AF3525B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3358"/>
              <a:ext cx="46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88</a:t>
              </a:r>
            </a:p>
          </p:txBody>
        </p:sp>
        <p:sp>
          <p:nvSpPr>
            <p:cNvPr id="14356" name="Rectangle 20">
              <a:extLst>
                <a:ext uri="{FF2B5EF4-FFF2-40B4-BE49-F238E27FC236}">
                  <a16:creationId xmlns:a16="http://schemas.microsoft.com/office/drawing/2014/main" id="{B1D9E881-B959-3C46-9C33-070F642D0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3358"/>
              <a:ext cx="45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466</a:t>
              </a:r>
            </a:p>
          </p:txBody>
        </p:sp>
        <p:sp>
          <p:nvSpPr>
            <p:cNvPr id="14357" name="Rectangle 21">
              <a:extLst>
                <a:ext uri="{FF2B5EF4-FFF2-40B4-BE49-F238E27FC236}">
                  <a16:creationId xmlns:a16="http://schemas.microsoft.com/office/drawing/2014/main" id="{A138B994-6DE9-2F43-8B28-AB3E7DB503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3358"/>
              <a:ext cx="1316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Portugal</a:t>
              </a:r>
            </a:p>
          </p:txBody>
        </p:sp>
        <p:sp>
          <p:nvSpPr>
            <p:cNvPr id="14358" name="Rectangle 22">
              <a:extLst>
                <a:ext uri="{FF2B5EF4-FFF2-40B4-BE49-F238E27FC236}">
                  <a16:creationId xmlns:a16="http://schemas.microsoft.com/office/drawing/2014/main" id="{6B35CEE1-1A1E-104F-B27E-4E358E3FB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3233"/>
              <a:ext cx="46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6</a:t>
              </a:r>
            </a:p>
          </p:txBody>
        </p:sp>
        <p:sp>
          <p:nvSpPr>
            <p:cNvPr id="14359" name="Rectangle 23">
              <a:extLst>
                <a:ext uri="{FF2B5EF4-FFF2-40B4-BE49-F238E27FC236}">
                  <a16:creationId xmlns:a16="http://schemas.microsoft.com/office/drawing/2014/main" id="{BEB3766F-9271-8349-9A06-6C2582C897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3233"/>
              <a:ext cx="45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466</a:t>
              </a:r>
            </a:p>
          </p:txBody>
        </p:sp>
        <p:sp>
          <p:nvSpPr>
            <p:cNvPr id="14360" name="Rectangle 24">
              <a:extLst>
                <a:ext uri="{FF2B5EF4-FFF2-40B4-BE49-F238E27FC236}">
                  <a16:creationId xmlns:a16="http://schemas.microsoft.com/office/drawing/2014/main" id="{10E04BE2-8933-5E40-93BC-5EB2C36189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3233"/>
              <a:ext cx="1316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Italien</a:t>
              </a:r>
            </a:p>
          </p:txBody>
        </p:sp>
        <p:sp>
          <p:nvSpPr>
            <p:cNvPr id="14361" name="Rectangle 25">
              <a:extLst>
                <a:ext uri="{FF2B5EF4-FFF2-40B4-BE49-F238E27FC236}">
                  <a16:creationId xmlns:a16="http://schemas.microsoft.com/office/drawing/2014/main" id="{99D24285-21EE-6943-8170-D0CB2F9658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3107"/>
              <a:ext cx="46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5</a:t>
              </a:r>
            </a:p>
          </p:txBody>
        </p:sp>
        <p:sp>
          <p:nvSpPr>
            <p:cNvPr id="14362" name="Rectangle 26">
              <a:extLst>
                <a:ext uri="{FF2B5EF4-FFF2-40B4-BE49-F238E27FC236}">
                  <a16:creationId xmlns:a16="http://schemas.microsoft.com/office/drawing/2014/main" id="{C8D6F902-70D3-A64A-B470-2CCD60D94A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3107"/>
              <a:ext cx="45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483</a:t>
              </a:r>
            </a:p>
          </p:txBody>
        </p:sp>
        <p:sp>
          <p:nvSpPr>
            <p:cNvPr id="14363" name="Rectangle 27">
              <a:extLst>
                <a:ext uri="{FF2B5EF4-FFF2-40B4-BE49-F238E27FC236}">
                  <a16:creationId xmlns:a16="http://schemas.microsoft.com/office/drawing/2014/main" id="{4E0A27C1-4723-6C46-BD77-C6D3C80E7C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3107"/>
              <a:ext cx="1316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Vereinigte Staaten</a:t>
              </a:r>
            </a:p>
          </p:txBody>
        </p:sp>
        <p:sp>
          <p:nvSpPr>
            <p:cNvPr id="14364" name="Rectangle 28">
              <a:extLst>
                <a:ext uri="{FF2B5EF4-FFF2-40B4-BE49-F238E27FC236}">
                  <a16:creationId xmlns:a16="http://schemas.microsoft.com/office/drawing/2014/main" id="{501309EE-720A-174C-BC6D-A10D669A9E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2982"/>
              <a:ext cx="46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88</a:t>
              </a:r>
            </a:p>
          </p:txBody>
        </p:sp>
        <p:sp>
          <p:nvSpPr>
            <p:cNvPr id="14365" name="Rectangle 29">
              <a:extLst>
                <a:ext uri="{FF2B5EF4-FFF2-40B4-BE49-F238E27FC236}">
                  <a16:creationId xmlns:a16="http://schemas.microsoft.com/office/drawing/2014/main" id="{EB2F498F-D2CF-DA4C-85B6-A2BB6E4AE5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2982"/>
              <a:ext cx="45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485</a:t>
              </a:r>
            </a:p>
          </p:txBody>
        </p:sp>
        <p:sp>
          <p:nvSpPr>
            <p:cNvPr id="14366" name="Rectangle 30">
              <a:extLst>
                <a:ext uri="{FF2B5EF4-FFF2-40B4-BE49-F238E27FC236}">
                  <a16:creationId xmlns:a16="http://schemas.microsoft.com/office/drawing/2014/main" id="{A1EA12D1-F67B-1C42-8989-86D479C5C3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2982"/>
              <a:ext cx="1316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Spanien</a:t>
              </a:r>
            </a:p>
          </p:txBody>
        </p:sp>
        <p:sp>
          <p:nvSpPr>
            <p:cNvPr id="14367" name="Rectangle 31">
              <a:extLst>
                <a:ext uri="{FF2B5EF4-FFF2-40B4-BE49-F238E27FC236}">
                  <a16:creationId xmlns:a16="http://schemas.microsoft.com/office/drawing/2014/main" id="{F759B256-752E-4C4D-9795-A076E01C04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2856"/>
              <a:ext cx="46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4</a:t>
              </a:r>
            </a:p>
          </p:txBody>
        </p:sp>
        <p:sp>
          <p:nvSpPr>
            <p:cNvPr id="14368" name="Rectangle 32">
              <a:extLst>
                <a:ext uri="{FF2B5EF4-FFF2-40B4-BE49-F238E27FC236}">
                  <a16:creationId xmlns:a16="http://schemas.microsoft.com/office/drawing/2014/main" id="{D3CB9DBA-BBC4-2F4F-AECF-B4B4805F34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2856"/>
              <a:ext cx="45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490</a:t>
              </a:r>
            </a:p>
          </p:txBody>
        </p:sp>
        <p:sp>
          <p:nvSpPr>
            <p:cNvPr id="14369" name="Rectangle 33">
              <a:extLst>
                <a:ext uri="{FF2B5EF4-FFF2-40B4-BE49-F238E27FC236}">
                  <a16:creationId xmlns:a16="http://schemas.microsoft.com/office/drawing/2014/main" id="{C924B659-94D9-A440-840D-5FB32FE5CB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2856"/>
              <a:ext cx="1316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Ungarn</a:t>
              </a:r>
            </a:p>
          </p:txBody>
        </p:sp>
        <p:sp>
          <p:nvSpPr>
            <p:cNvPr id="14370" name="Rectangle 34">
              <a:extLst>
                <a:ext uri="{FF2B5EF4-FFF2-40B4-BE49-F238E27FC236}">
                  <a16:creationId xmlns:a16="http://schemas.microsoft.com/office/drawing/2014/main" id="{C7BC83BA-ABA3-B14D-822A-EE584ACACD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2732"/>
              <a:ext cx="467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0</a:t>
              </a:r>
            </a:p>
          </p:txBody>
        </p:sp>
        <p:sp>
          <p:nvSpPr>
            <p:cNvPr id="14371" name="Rectangle 35">
              <a:extLst>
                <a:ext uri="{FF2B5EF4-FFF2-40B4-BE49-F238E27FC236}">
                  <a16:creationId xmlns:a16="http://schemas.microsoft.com/office/drawing/2014/main" id="{BBEE3D08-F642-1446-B12C-5AF6B78803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2732"/>
              <a:ext cx="457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490</a:t>
              </a:r>
            </a:p>
          </p:txBody>
        </p:sp>
        <p:sp>
          <p:nvSpPr>
            <p:cNvPr id="14372" name="Rectangle 36">
              <a:extLst>
                <a:ext uri="{FF2B5EF4-FFF2-40B4-BE49-F238E27FC236}">
                  <a16:creationId xmlns:a16="http://schemas.microsoft.com/office/drawing/2014/main" id="{89F6D626-276C-354D-839C-09E7583C74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2732"/>
              <a:ext cx="1316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Polen</a:t>
              </a:r>
            </a:p>
          </p:txBody>
        </p:sp>
        <p:sp>
          <p:nvSpPr>
            <p:cNvPr id="14373" name="Rectangle 37">
              <a:extLst>
                <a:ext uri="{FF2B5EF4-FFF2-40B4-BE49-F238E27FC236}">
                  <a16:creationId xmlns:a16="http://schemas.microsoft.com/office/drawing/2014/main" id="{4B25E933-0F49-B546-9A32-958998726F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2603"/>
              <a:ext cx="467" cy="1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2</a:t>
              </a:r>
            </a:p>
          </p:txBody>
        </p:sp>
        <p:sp>
          <p:nvSpPr>
            <p:cNvPr id="14374" name="Rectangle 38">
              <a:extLst>
                <a:ext uri="{FF2B5EF4-FFF2-40B4-BE49-F238E27FC236}">
                  <a16:creationId xmlns:a16="http://schemas.microsoft.com/office/drawing/2014/main" id="{FD3789C1-948E-DD41-822D-9E9E0D962A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2603"/>
              <a:ext cx="457" cy="1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493</a:t>
              </a:r>
            </a:p>
          </p:txBody>
        </p:sp>
        <p:sp>
          <p:nvSpPr>
            <p:cNvPr id="14375" name="Rectangle 39">
              <a:extLst>
                <a:ext uri="{FF2B5EF4-FFF2-40B4-BE49-F238E27FC236}">
                  <a16:creationId xmlns:a16="http://schemas.microsoft.com/office/drawing/2014/main" id="{360E678F-6027-8C41-A86C-7900F674B4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2603"/>
              <a:ext cx="1316" cy="1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Luxemburg</a:t>
              </a:r>
            </a:p>
          </p:txBody>
        </p:sp>
        <p:sp>
          <p:nvSpPr>
            <p:cNvPr id="14376" name="Rectangle 40">
              <a:extLst>
                <a:ext uri="{FF2B5EF4-FFF2-40B4-BE49-F238E27FC236}">
                  <a16:creationId xmlns:a16="http://schemas.microsoft.com/office/drawing/2014/main" id="{A442B76F-ABA0-E943-90B6-E5A31D48EB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2478"/>
              <a:ext cx="46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2</a:t>
              </a:r>
            </a:p>
          </p:txBody>
        </p:sp>
        <p:sp>
          <p:nvSpPr>
            <p:cNvPr id="14377" name="Rectangle 41">
              <a:extLst>
                <a:ext uri="{FF2B5EF4-FFF2-40B4-BE49-F238E27FC236}">
                  <a16:creationId xmlns:a16="http://schemas.microsoft.com/office/drawing/2014/main" id="{1DF7C093-8F81-5948-A0AF-567A95B94D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2478"/>
              <a:ext cx="45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495</a:t>
              </a:r>
            </a:p>
          </p:txBody>
        </p:sp>
        <p:sp>
          <p:nvSpPr>
            <p:cNvPr id="14378" name="Rectangle 42">
              <a:extLst>
                <a:ext uri="{FF2B5EF4-FFF2-40B4-BE49-F238E27FC236}">
                  <a16:creationId xmlns:a16="http://schemas.microsoft.com/office/drawing/2014/main" id="{4E364049-BE9E-9F4B-BAAD-809CB8D0D2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2478"/>
              <a:ext cx="1316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Norwegen</a:t>
              </a:r>
            </a:p>
          </p:txBody>
        </p:sp>
        <p:sp>
          <p:nvSpPr>
            <p:cNvPr id="14379" name="Rectangle 43">
              <a:extLst>
                <a:ext uri="{FF2B5EF4-FFF2-40B4-BE49-F238E27FC236}">
                  <a16:creationId xmlns:a16="http://schemas.microsoft.com/office/drawing/2014/main" id="{A793FC9B-AF76-2E42-BDFE-8E57456C9B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2352"/>
              <a:ext cx="46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3</a:t>
              </a:r>
            </a:p>
          </p:txBody>
        </p:sp>
        <p:sp>
          <p:nvSpPr>
            <p:cNvPr id="14380" name="Rectangle 44">
              <a:extLst>
                <a:ext uri="{FF2B5EF4-FFF2-40B4-BE49-F238E27FC236}">
                  <a16:creationId xmlns:a16="http://schemas.microsoft.com/office/drawing/2014/main" id="{9D046C98-26F0-E543-A6AA-F0FFE7A924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2352"/>
              <a:ext cx="45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498</a:t>
              </a:r>
            </a:p>
          </p:txBody>
        </p:sp>
        <p:sp>
          <p:nvSpPr>
            <p:cNvPr id="14381" name="Rectangle 45">
              <a:extLst>
                <a:ext uri="{FF2B5EF4-FFF2-40B4-BE49-F238E27FC236}">
                  <a16:creationId xmlns:a16="http://schemas.microsoft.com/office/drawing/2014/main" id="{39EF5BAE-280F-7F4B-8AE1-98404B9701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2352"/>
              <a:ext cx="1316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Slowakische Republik</a:t>
              </a:r>
            </a:p>
          </p:txBody>
        </p:sp>
        <p:sp>
          <p:nvSpPr>
            <p:cNvPr id="14382" name="Rectangle 46">
              <a:extLst>
                <a:ext uri="{FF2B5EF4-FFF2-40B4-BE49-F238E27FC236}">
                  <a16:creationId xmlns:a16="http://schemas.microsoft.com/office/drawing/2014/main" id="{C9F18E8B-9EF0-E94B-B731-4762F12417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2228"/>
              <a:ext cx="467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85</a:t>
              </a:r>
            </a:p>
          </p:txBody>
        </p:sp>
        <p:sp>
          <p:nvSpPr>
            <p:cNvPr id="14383" name="Rectangle 47">
              <a:extLst>
                <a:ext uri="{FF2B5EF4-FFF2-40B4-BE49-F238E27FC236}">
                  <a16:creationId xmlns:a16="http://schemas.microsoft.com/office/drawing/2014/main" id="{1AA0899E-5924-274D-9982-14FCE8F5AA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2228"/>
              <a:ext cx="457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03</a:t>
              </a:r>
            </a:p>
          </p:txBody>
        </p:sp>
        <p:sp>
          <p:nvSpPr>
            <p:cNvPr id="14384" name="Rectangle 48">
              <a:extLst>
                <a:ext uri="{FF2B5EF4-FFF2-40B4-BE49-F238E27FC236}">
                  <a16:creationId xmlns:a16="http://schemas.microsoft.com/office/drawing/2014/main" id="{EDC506B7-C16A-F64C-8E31-475CD19635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2228"/>
              <a:ext cx="1316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Irland</a:t>
              </a:r>
            </a:p>
          </p:txBody>
        </p:sp>
        <p:sp>
          <p:nvSpPr>
            <p:cNvPr id="14385" name="Rectangle 49">
              <a:extLst>
                <a:ext uri="{FF2B5EF4-FFF2-40B4-BE49-F238E27FC236}">
                  <a16:creationId xmlns:a16="http://schemas.microsoft.com/office/drawing/2014/main" id="{1B0A874C-9003-464E-8CBB-816CF9C021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2103"/>
              <a:ext cx="46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103</a:t>
              </a:r>
            </a:p>
          </p:txBody>
        </p:sp>
        <p:sp>
          <p:nvSpPr>
            <p:cNvPr id="14386" name="Rectangle 50">
              <a:extLst>
                <a:ext uri="{FF2B5EF4-FFF2-40B4-BE49-F238E27FC236}">
                  <a16:creationId xmlns:a16="http://schemas.microsoft.com/office/drawing/2014/main" id="{2C0CC86B-85A7-C74A-A9D6-F50FCDEEB0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2103"/>
              <a:ext cx="45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03</a:t>
              </a:r>
            </a:p>
          </p:txBody>
        </p:sp>
        <p:sp>
          <p:nvSpPr>
            <p:cNvPr id="14387" name="Rectangle 51">
              <a:extLst>
                <a:ext uri="{FF2B5EF4-FFF2-40B4-BE49-F238E27FC236}">
                  <a16:creationId xmlns:a16="http://schemas.microsoft.com/office/drawing/2014/main" id="{46778528-9029-7145-8348-9C84C99A90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2103"/>
              <a:ext cx="1316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Deutschland</a:t>
              </a:r>
            </a:p>
          </p:txBody>
        </p:sp>
        <p:sp>
          <p:nvSpPr>
            <p:cNvPr id="14388" name="Rectangle 52">
              <a:extLst>
                <a:ext uri="{FF2B5EF4-FFF2-40B4-BE49-F238E27FC236}">
                  <a16:creationId xmlns:a16="http://schemas.microsoft.com/office/drawing/2014/main" id="{17CD82F5-2233-BB4D-8EBB-5A7DE74995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1977"/>
              <a:ext cx="46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3</a:t>
              </a:r>
            </a:p>
          </p:txBody>
        </p:sp>
        <p:sp>
          <p:nvSpPr>
            <p:cNvPr id="14389" name="Rectangle 53">
              <a:extLst>
                <a:ext uri="{FF2B5EF4-FFF2-40B4-BE49-F238E27FC236}">
                  <a16:creationId xmlns:a16="http://schemas.microsoft.com/office/drawing/2014/main" id="{2A296079-87D4-114E-A09D-857EDB27A4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1977"/>
              <a:ext cx="45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06</a:t>
              </a:r>
            </a:p>
          </p:txBody>
        </p:sp>
        <p:sp>
          <p:nvSpPr>
            <p:cNvPr id="14390" name="Rectangle 54">
              <a:extLst>
                <a:ext uri="{FF2B5EF4-FFF2-40B4-BE49-F238E27FC236}">
                  <a16:creationId xmlns:a16="http://schemas.microsoft.com/office/drawing/2014/main" id="{2C4718A7-2AE8-0444-A6C5-26E3A28F68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1977"/>
              <a:ext cx="1316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Österreich</a:t>
              </a:r>
            </a:p>
          </p:txBody>
        </p:sp>
        <p:sp>
          <p:nvSpPr>
            <p:cNvPr id="14391" name="Rectangle 55">
              <a:extLst>
                <a:ext uri="{FF2B5EF4-FFF2-40B4-BE49-F238E27FC236}">
                  <a16:creationId xmlns:a16="http://schemas.microsoft.com/office/drawing/2014/main" id="{73DF8981-08D5-EE4E-A909-570A1D0B6C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1853"/>
              <a:ext cx="467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5</a:t>
              </a:r>
            </a:p>
          </p:txBody>
        </p:sp>
        <p:sp>
          <p:nvSpPr>
            <p:cNvPr id="14392" name="Rectangle 56">
              <a:extLst>
                <a:ext uri="{FF2B5EF4-FFF2-40B4-BE49-F238E27FC236}">
                  <a16:creationId xmlns:a16="http://schemas.microsoft.com/office/drawing/2014/main" id="{26C5B77B-9E19-1545-A680-D04AF0D27B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1853"/>
              <a:ext cx="457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09</a:t>
              </a:r>
            </a:p>
          </p:txBody>
        </p:sp>
        <p:sp>
          <p:nvSpPr>
            <p:cNvPr id="14393" name="Rectangle 57">
              <a:extLst>
                <a:ext uri="{FF2B5EF4-FFF2-40B4-BE49-F238E27FC236}">
                  <a16:creationId xmlns:a16="http://schemas.microsoft.com/office/drawing/2014/main" id="{A54D5046-CE4C-7045-B755-E99E106A35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1853"/>
              <a:ext cx="1316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Schweden</a:t>
              </a:r>
            </a:p>
          </p:txBody>
        </p:sp>
        <p:sp>
          <p:nvSpPr>
            <p:cNvPr id="14394" name="Rectangle 58">
              <a:extLst>
                <a:ext uri="{FF2B5EF4-FFF2-40B4-BE49-F238E27FC236}">
                  <a16:creationId xmlns:a16="http://schemas.microsoft.com/office/drawing/2014/main" id="{5B7DA024-6664-4B49-B509-0B4DB42A58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1727"/>
              <a:ext cx="46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2</a:t>
              </a:r>
            </a:p>
          </p:txBody>
        </p:sp>
        <p:sp>
          <p:nvSpPr>
            <p:cNvPr id="14395" name="Rectangle 59">
              <a:extLst>
                <a:ext uri="{FF2B5EF4-FFF2-40B4-BE49-F238E27FC236}">
                  <a16:creationId xmlns:a16="http://schemas.microsoft.com/office/drawing/2014/main" id="{8CB72DC1-8574-2A42-894F-653E38E75F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1727"/>
              <a:ext cx="45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11</a:t>
              </a:r>
            </a:p>
          </p:txBody>
        </p:sp>
        <p:sp>
          <p:nvSpPr>
            <p:cNvPr id="14396" name="Rectangle 60">
              <a:extLst>
                <a:ext uri="{FF2B5EF4-FFF2-40B4-BE49-F238E27FC236}">
                  <a16:creationId xmlns:a16="http://schemas.microsoft.com/office/drawing/2014/main" id="{288590B1-C408-9842-91F9-BB9BD47FF1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1727"/>
              <a:ext cx="1316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Frankreich</a:t>
              </a:r>
            </a:p>
          </p:txBody>
        </p:sp>
        <p:sp>
          <p:nvSpPr>
            <p:cNvPr id="14397" name="Rectangle 61">
              <a:extLst>
                <a:ext uri="{FF2B5EF4-FFF2-40B4-BE49-F238E27FC236}">
                  <a16:creationId xmlns:a16="http://schemas.microsoft.com/office/drawing/2014/main" id="{329138CA-3376-FC4C-A8DE-D75708FD97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1602"/>
              <a:ext cx="46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1</a:t>
              </a:r>
            </a:p>
          </p:txBody>
        </p:sp>
        <p:sp>
          <p:nvSpPr>
            <p:cNvPr id="14398" name="Rectangle 62">
              <a:extLst>
                <a:ext uri="{FF2B5EF4-FFF2-40B4-BE49-F238E27FC236}">
                  <a16:creationId xmlns:a16="http://schemas.microsoft.com/office/drawing/2014/main" id="{3FFCFBDF-E265-404B-A543-B8674EB3E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1602"/>
              <a:ext cx="45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14</a:t>
              </a:r>
            </a:p>
          </p:txBody>
        </p:sp>
        <p:sp>
          <p:nvSpPr>
            <p:cNvPr id="14399" name="Rectangle 63">
              <a:extLst>
                <a:ext uri="{FF2B5EF4-FFF2-40B4-BE49-F238E27FC236}">
                  <a16:creationId xmlns:a16="http://schemas.microsoft.com/office/drawing/2014/main" id="{8FF12EC4-47F9-4A4E-8ED1-DFE63A4F9E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1602"/>
              <a:ext cx="1316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Dänemark</a:t>
              </a:r>
            </a:p>
          </p:txBody>
        </p:sp>
        <p:sp>
          <p:nvSpPr>
            <p:cNvPr id="14400" name="Rectangle 64">
              <a:extLst>
                <a:ext uri="{FF2B5EF4-FFF2-40B4-BE49-F238E27FC236}">
                  <a16:creationId xmlns:a16="http://schemas.microsoft.com/office/drawing/2014/main" id="{8765D3BC-D38E-8A44-8307-F458CEAB8F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1477"/>
              <a:ext cx="46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0</a:t>
              </a:r>
            </a:p>
          </p:txBody>
        </p:sp>
        <p:sp>
          <p:nvSpPr>
            <p:cNvPr id="14401" name="Rectangle 65">
              <a:extLst>
                <a:ext uri="{FF2B5EF4-FFF2-40B4-BE49-F238E27FC236}">
                  <a16:creationId xmlns:a16="http://schemas.microsoft.com/office/drawing/2014/main" id="{4FE12A50-02EA-494D-9471-C5CA123A31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1477"/>
              <a:ext cx="45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15</a:t>
              </a:r>
            </a:p>
          </p:txBody>
        </p:sp>
        <p:sp>
          <p:nvSpPr>
            <p:cNvPr id="14402" name="Rectangle 66">
              <a:extLst>
                <a:ext uri="{FF2B5EF4-FFF2-40B4-BE49-F238E27FC236}">
                  <a16:creationId xmlns:a16="http://schemas.microsoft.com/office/drawing/2014/main" id="{CB0EDED6-C2A1-784A-B634-A43C7E2002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1477"/>
              <a:ext cx="1316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Island</a:t>
              </a:r>
            </a:p>
          </p:txBody>
        </p:sp>
        <p:sp>
          <p:nvSpPr>
            <p:cNvPr id="14403" name="Rectangle 67">
              <a:extLst>
                <a:ext uri="{FF2B5EF4-FFF2-40B4-BE49-F238E27FC236}">
                  <a16:creationId xmlns:a16="http://schemas.microsoft.com/office/drawing/2014/main" id="{E055D871-2CCE-7B42-BF1B-FA61FC63D4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1352"/>
              <a:ext cx="46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6</a:t>
              </a:r>
            </a:p>
          </p:txBody>
        </p:sp>
        <p:sp>
          <p:nvSpPr>
            <p:cNvPr id="14404" name="Rectangle 68">
              <a:extLst>
                <a:ext uri="{FF2B5EF4-FFF2-40B4-BE49-F238E27FC236}">
                  <a16:creationId xmlns:a16="http://schemas.microsoft.com/office/drawing/2014/main" id="{6DB7C447-360F-0546-AFF0-C868CC6B3A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1352"/>
              <a:ext cx="45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16</a:t>
              </a:r>
            </a:p>
          </p:txBody>
        </p:sp>
        <p:sp>
          <p:nvSpPr>
            <p:cNvPr id="14405" name="Rectangle 69">
              <a:extLst>
                <a:ext uri="{FF2B5EF4-FFF2-40B4-BE49-F238E27FC236}">
                  <a16:creationId xmlns:a16="http://schemas.microsoft.com/office/drawing/2014/main" id="{6564C3FA-B31A-0F4D-BF72-6902868A1B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1352"/>
              <a:ext cx="1316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Tschech. Republik</a:t>
              </a:r>
            </a:p>
          </p:txBody>
        </p:sp>
        <p:sp>
          <p:nvSpPr>
            <p:cNvPr id="14406" name="Rectangle 70">
              <a:extLst>
                <a:ext uri="{FF2B5EF4-FFF2-40B4-BE49-F238E27FC236}">
                  <a16:creationId xmlns:a16="http://schemas.microsoft.com/office/drawing/2014/main" id="{29281661-72FF-7B49-BB54-CC84953A5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1226"/>
              <a:ext cx="46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8</a:t>
              </a:r>
            </a:p>
          </p:txBody>
        </p:sp>
        <p:sp>
          <p:nvSpPr>
            <p:cNvPr id="14407" name="Rectangle 71">
              <a:extLst>
                <a:ext uri="{FF2B5EF4-FFF2-40B4-BE49-F238E27FC236}">
                  <a16:creationId xmlns:a16="http://schemas.microsoft.com/office/drawing/2014/main" id="{2BD5B260-39B6-1847-9D03-D54CE52340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1226"/>
              <a:ext cx="45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23</a:t>
              </a:r>
            </a:p>
          </p:txBody>
        </p:sp>
        <p:sp>
          <p:nvSpPr>
            <p:cNvPr id="14408" name="Rectangle 72">
              <a:extLst>
                <a:ext uri="{FF2B5EF4-FFF2-40B4-BE49-F238E27FC236}">
                  <a16:creationId xmlns:a16="http://schemas.microsoft.com/office/drawing/2014/main" id="{2E40E651-2E07-EE4C-AFE2-9D569CD22E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1226"/>
              <a:ext cx="1316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Neuseeland</a:t>
              </a:r>
            </a:p>
          </p:txBody>
        </p:sp>
        <p:sp>
          <p:nvSpPr>
            <p:cNvPr id="14409" name="Rectangle 73">
              <a:extLst>
                <a:ext uri="{FF2B5EF4-FFF2-40B4-BE49-F238E27FC236}">
                  <a16:creationId xmlns:a16="http://schemas.microsoft.com/office/drawing/2014/main" id="{CE728317-8B0F-3242-A412-63F256857D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1102"/>
              <a:ext cx="467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5</a:t>
              </a:r>
            </a:p>
          </p:txBody>
        </p:sp>
        <p:sp>
          <p:nvSpPr>
            <p:cNvPr id="14410" name="Rectangle 74">
              <a:extLst>
                <a:ext uri="{FF2B5EF4-FFF2-40B4-BE49-F238E27FC236}">
                  <a16:creationId xmlns:a16="http://schemas.microsoft.com/office/drawing/2014/main" id="{7BFE82BC-7F86-D248-B004-9C6C74E2EC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1102"/>
              <a:ext cx="457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24</a:t>
              </a:r>
            </a:p>
          </p:txBody>
        </p:sp>
        <p:sp>
          <p:nvSpPr>
            <p:cNvPr id="14411" name="Rectangle 75">
              <a:extLst>
                <a:ext uri="{FF2B5EF4-FFF2-40B4-BE49-F238E27FC236}">
                  <a16:creationId xmlns:a16="http://schemas.microsoft.com/office/drawing/2014/main" id="{44E412CB-9792-7746-8C59-702700D583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1102"/>
              <a:ext cx="1316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Australien</a:t>
              </a:r>
            </a:p>
          </p:txBody>
        </p:sp>
        <p:sp>
          <p:nvSpPr>
            <p:cNvPr id="14412" name="Rectangle 76">
              <a:extLst>
                <a:ext uri="{FF2B5EF4-FFF2-40B4-BE49-F238E27FC236}">
                  <a16:creationId xmlns:a16="http://schemas.microsoft.com/office/drawing/2014/main" id="{B080262E-B6AE-0547-AAE5-236C18B211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976"/>
              <a:ext cx="46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8</a:t>
              </a:r>
            </a:p>
          </p:txBody>
        </p:sp>
        <p:sp>
          <p:nvSpPr>
            <p:cNvPr id="14413" name="Rectangle 77">
              <a:extLst>
                <a:ext uri="{FF2B5EF4-FFF2-40B4-BE49-F238E27FC236}">
                  <a16:creationId xmlns:a16="http://schemas.microsoft.com/office/drawing/2014/main" id="{56BA8879-ACC8-B847-8CD8-6553264D51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976"/>
              <a:ext cx="45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27</a:t>
              </a:r>
            </a:p>
          </p:txBody>
        </p:sp>
        <p:sp>
          <p:nvSpPr>
            <p:cNvPr id="14414" name="Rectangle 78">
              <a:extLst>
                <a:ext uri="{FF2B5EF4-FFF2-40B4-BE49-F238E27FC236}">
                  <a16:creationId xmlns:a16="http://schemas.microsoft.com/office/drawing/2014/main" id="{652BAF72-69DA-7541-9265-87CAC77DC2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976"/>
              <a:ext cx="1316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Schweiz</a:t>
              </a:r>
            </a:p>
          </p:txBody>
        </p:sp>
        <p:sp>
          <p:nvSpPr>
            <p:cNvPr id="14415" name="Rectangle 79">
              <a:extLst>
                <a:ext uri="{FF2B5EF4-FFF2-40B4-BE49-F238E27FC236}">
                  <a16:creationId xmlns:a16="http://schemas.microsoft.com/office/drawing/2014/main" id="{A21A8CC0-2074-534D-8FEA-E689F0926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851"/>
              <a:ext cx="46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110</a:t>
              </a:r>
            </a:p>
          </p:txBody>
        </p:sp>
        <p:sp>
          <p:nvSpPr>
            <p:cNvPr id="14416" name="Rectangle 80">
              <a:extLst>
                <a:ext uri="{FF2B5EF4-FFF2-40B4-BE49-F238E27FC236}">
                  <a16:creationId xmlns:a16="http://schemas.microsoft.com/office/drawing/2014/main" id="{3AA5B374-D6BF-164B-A0DE-6FC673D9BA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851"/>
              <a:ext cx="45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29</a:t>
              </a:r>
            </a:p>
          </p:txBody>
        </p:sp>
        <p:sp>
          <p:nvSpPr>
            <p:cNvPr id="14417" name="Rectangle 81">
              <a:extLst>
                <a:ext uri="{FF2B5EF4-FFF2-40B4-BE49-F238E27FC236}">
                  <a16:creationId xmlns:a16="http://schemas.microsoft.com/office/drawing/2014/main" id="{7C5783A9-686D-4D4D-958E-F9D0C79E7B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851"/>
              <a:ext cx="1316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Belgien</a:t>
              </a:r>
            </a:p>
          </p:txBody>
        </p:sp>
        <p:sp>
          <p:nvSpPr>
            <p:cNvPr id="14418" name="Rectangle 82">
              <a:extLst>
                <a:ext uri="{FF2B5EF4-FFF2-40B4-BE49-F238E27FC236}">
                  <a16:creationId xmlns:a16="http://schemas.microsoft.com/office/drawing/2014/main" id="{3AF0027A-8E11-B54D-B7F5-DCC5B039BD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725"/>
              <a:ext cx="46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87</a:t>
              </a:r>
            </a:p>
          </p:txBody>
        </p:sp>
        <p:sp>
          <p:nvSpPr>
            <p:cNvPr id="14419" name="Rectangle 83">
              <a:extLst>
                <a:ext uri="{FF2B5EF4-FFF2-40B4-BE49-F238E27FC236}">
                  <a16:creationId xmlns:a16="http://schemas.microsoft.com/office/drawing/2014/main" id="{C7D65617-7008-9747-A4F5-25C95EC12F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725"/>
              <a:ext cx="45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32</a:t>
              </a:r>
            </a:p>
          </p:txBody>
        </p:sp>
        <p:sp>
          <p:nvSpPr>
            <p:cNvPr id="14420" name="Rectangle 84">
              <a:extLst>
                <a:ext uri="{FF2B5EF4-FFF2-40B4-BE49-F238E27FC236}">
                  <a16:creationId xmlns:a16="http://schemas.microsoft.com/office/drawing/2014/main" id="{1C20C7CC-EE8D-8546-AFB7-9E2DE15AF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725"/>
              <a:ext cx="1316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Kanada</a:t>
              </a:r>
            </a:p>
          </p:txBody>
        </p:sp>
        <p:sp>
          <p:nvSpPr>
            <p:cNvPr id="14421" name="Rectangle 85">
              <a:extLst>
                <a:ext uri="{FF2B5EF4-FFF2-40B4-BE49-F238E27FC236}">
                  <a16:creationId xmlns:a16="http://schemas.microsoft.com/office/drawing/2014/main" id="{2DE132EC-933B-CF4F-8DE2-94A6EC484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601"/>
              <a:ext cx="467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101</a:t>
              </a:r>
            </a:p>
          </p:txBody>
        </p:sp>
        <p:sp>
          <p:nvSpPr>
            <p:cNvPr id="14422" name="Rectangle 86">
              <a:extLst>
                <a:ext uri="{FF2B5EF4-FFF2-40B4-BE49-F238E27FC236}">
                  <a16:creationId xmlns:a16="http://schemas.microsoft.com/office/drawing/2014/main" id="{2A8201A0-9DE2-8142-99F3-E79A3A9480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601"/>
              <a:ext cx="457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34</a:t>
              </a:r>
            </a:p>
          </p:txBody>
        </p:sp>
        <p:sp>
          <p:nvSpPr>
            <p:cNvPr id="14423" name="Rectangle 87">
              <a:extLst>
                <a:ext uri="{FF2B5EF4-FFF2-40B4-BE49-F238E27FC236}">
                  <a16:creationId xmlns:a16="http://schemas.microsoft.com/office/drawing/2014/main" id="{F149C982-6B51-2A49-B950-3A331FBCC4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601"/>
              <a:ext cx="1316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Japan</a:t>
              </a:r>
            </a:p>
          </p:txBody>
        </p:sp>
        <p:sp>
          <p:nvSpPr>
            <p:cNvPr id="14424" name="Rectangle 88">
              <a:extLst>
                <a:ext uri="{FF2B5EF4-FFF2-40B4-BE49-F238E27FC236}">
                  <a16:creationId xmlns:a16="http://schemas.microsoft.com/office/drawing/2014/main" id="{165A8611-0957-C74B-910C-56945E9952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475"/>
              <a:ext cx="46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3</a:t>
              </a:r>
            </a:p>
          </p:txBody>
        </p:sp>
        <p:sp>
          <p:nvSpPr>
            <p:cNvPr id="14425" name="Rectangle 89">
              <a:extLst>
                <a:ext uri="{FF2B5EF4-FFF2-40B4-BE49-F238E27FC236}">
                  <a16:creationId xmlns:a16="http://schemas.microsoft.com/office/drawing/2014/main" id="{3A3248BF-BAFA-BA40-814E-9CC157EDCA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475"/>
              <a:ext cx="457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38</a:t>
              </a:r>
            </a:p>
          </p:txBody>
        </p:sp>
        <p:sp>
          <p:nvSpPr>
            <p:cNvPr id="14426" name="Rectangle 90">
              <a:extLst>
                <a:ext uri="{FF2B5EF4-FFF2-40B4-BE49-F238E27FC236}">
                  <a16:creationId xmlns:a16="http://schemas.microsoft.com/office/drawing/2014/main" id="{53D7B84B-0456-0749-B4E5-A8EF4A8B1C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75"/>
              <a:ext cx="1316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Niederlande</a:t>
              </a:r>
            </a:p>
          </p:txBody>
        </p:sp>
        <p:sp>
          <p:nvSpPr>
            <p:cNvPr id="14427" name="Rectangle 91">
              <a:extLst>
                <a:ext uri="{FF2B5EF4-FFF2-40B4-BE49-F238E27FC236}">
                  <a16:creationId xmlns:a16="http://schemas.microsoft.com/office/drawing/2014/main" id="{5B75E4AA-F82F-354D-A024-F03200A41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350"/>
              <a:ext cx="46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92</a:t>
              </a:r>
            </a:p>
          </p:txBody>
        </p:sp>
        <p:sp>
          <p:nvSpPr>
            <p:cNvPr id="14428" name="Rectangle 92">
              <a:extLst>
                <a:ext uri="{FF2B5EF4-FFF2-40B4-BE49-F238E27FC236}">
                  <a16:creationId xmlns:a16="http://schemas.microsoft.com/office/drawing/2014/main" id="{00139F24-40A6-0E43-A480-1C51A9B5B6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350"/>
              <a:ext cx="457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42</a:t>
              </a:r>
            </a:p>
          </p:txBody>
        </p:sp>
        <p:sp>
          <p:nvSpPr>
            <p:cNvPr id="14429" name="Rectangle 93">
              <a:extLst>
                <a:ext uri="{FF2B5EF4-FFF2-40B4-BE49-F238E27FC236}">
                  <a16:creationId xmlns:a16="http://schemas.microsoft.com/office/drawing/2014/main" id="{00641267-539B-9447-823C-27AC525717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350"/>
              <a:ext cx="1316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Korea</a:t>
              </a:r>
            </a:p>
          </p:txBody>
        </p:sp>
        <p:sp>
          <p:nvSpPr>
            <p:cNvPr id="14430" name="Rectangle 94">
              <a:extLst>
                <a:ext uri="{FF2B5EF4-FFF2-40B4-BE49-F238E27FC236}">
                  <a16:creationId xmlns:a16="http://schemas.microsoft.com/office/drawing/2014/main" id="{EC68C2D5-59BA-464E-818B-67A1CA3D19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226"/>
              <a:ext cx="467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50000"/>
                </a:lnSpc>
                <a:spcBef>
                  <a:spcPct val="40000"/>
                </a:spcBef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/>
                <a:t>84</a:t>
              </a:r>
            </a:p>
          </p:txBody>
        </p:sp>
        <p:sp>
          <p:nvSpPr>
            <p:cNvPr id="14431" name="Rectangle 95">
              <a:extLst>
                <a:ext uri="{FF2B5EF4-FFF2-40B4-BE49-F238E27FC236}">
                  <a16:creationId xmlns:a16="http://schemas.microsoft.com/office/drawing/2014/main" id="{D40D4A10-17C7-7D45-91BA-678C076462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226"/>
              <a:ext cx="457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544</a:t>
              </a:r>
            </a:p>
          </p:txBody>
        </p:sp>
        <p:sp>
          <p:nvSpPr>
            <p:cNvPr id="14432" name="Rectangle 96">
              <a:extLst>
                <a:ext uri="{FF2B5EF4-FFF2-40B4-BE49-F238E27FC236}">
                  <a16:creationId xmlns:a16="http://schemas.microsoft.com/office/drawing/2014/main" id="{4C38F448-5C68-0648-95E6-3A973A5FF1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226"/>
              <a:ext cx="1316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ctr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>
                  <a:cs typeface="Arial" panose="020B0604020202020204" pitchFamily="34" charset="0"/>
                </a:rPr>
                <a:t>Finnland</a:t>
              </a:r>
            </a:p>
          </p:txBody>
        </p:sp>
        <p:sp>
          <p:nvSpPr>
            <p:cNvPr id="14433" name="Rectangle 97">
              <a:extLst>
                <a:ext uri="{FF2B5EF4-FFF2-40B4-BE49-F238E27FC236}">
                  <a16:creationId xmlns:a16="http://schemas.microsoft.com/office/drawing/2014/main" id="{E85533DB-5A91-E348-ACB2-9751D9E2B3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" y="96"/>
              <a:ext cx="467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t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 b="1">
                  <a:cs typeface="Arial" panose="020B0604020202020204" pitchFamily="34" charset="0"/>
                </a:rPr>
                <a:t>SD</a:t>
              </a:r>
            </a:p>
          </p:txBody>
        </p:sp>
        <p:sp>
          <p:nvSpPr>
            <p:cNvPr id="14434" name="Rectangle 98">
              <a:extLst>
                <a:ext uri="{FF2B5EF4-FFF2-40B4-BE49-F238E27FC236}">
                  <a16:creationId xmlns:a16="http://schemas.microsoft.com/office/drawing/2014/main" id="{9633AC68-B043-6A45-AEDF-8BA1455BA2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6" y="96"/>
              <a:ext cx="457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t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 b="1">
                  <a:cs typeface="Arial" panose="020B0604020202020204" pitchFamily="34" charset="0"/>
                </a:rPr>
                <a:t>MW</a:t>
              </a:r>
            </a:p>
          </p:txBody>
        </p:sp>
        <p:sp>
          <p:nvSpPr>
            <p:cNvPr id="14435" name="Rectangle 99">
              <a:extLst>
                <a:ext uri="{FF2B5EF4-FFF2-40B4-BE49-F238E27FC236}">
                  <a16:creationId xmlns:a16="http://schemas.microsoft.com/office/drawing/2014/main" id="{5917FFB3-38B0-CE4F-8A69-0300178179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96"/>
              <a:ext cx="1316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fontAlgn="t">
                <a:lnSpc>
                  <a:spcPct val="50000"/>
                </a:lnSpc>
                <a:buClr>
                  <a:srgbClr val="2A2763"/>
                </a:buClr>
                <a:buFont typeface="Wingdings" pitchFamily="2" charset="2"/>
                <a:buNone/>
              </a:pPr>
              <a:r>
                <a:rPr lang="de-DE" altLang="de-DE" sz="1500" b="1">
                  <a:cs typeface="Arial" panose="020B0604020202020204" pitchFamily="34" charset="0"/>
                </a:rPr>
                <a:t>Staat</a:t>
              </a:r>
            </a:p>
          </p:txBody>
        </p:sp>
        <p:sp>
          <p:nvSpPr>
            <p:cNvPr id="14436" name="Line 100">
              <a:extLst>
                <a:ext uri="{FF2B5EF4-FFF2-40B4-BE49-F238E27FC236}">
                  <a16:creationId xmlns:a16="http://schemas.microsoft.com/office/drawing/2014/main" id="{D71BADAF-2F2D-7A47-96BF-93949165C9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96"/>
              <a:ext cx="1316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37" name="Line 101">
              <a:extLst>
                <a:ext uri="{FF2B5EF4-FFF2-40B4-BE49-F238E27FC236}">
                  <a16:creationId xmlns:a16="http://schemas.microsoft.com/office/drawing/2014/main" id="{B9682E54-A83B-0D40-BACA-B300A3D333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4193"/>
              <a:ext cx="1316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38" name="Line 102">
              <a:extLst>
                <a:ext uri="{FF2B5EF4-FFF2-40B4-BE49-F238E27FC236}">
                  <a16:creationId xmlns:a16="http://schemas.microsoft.com/office/drawing/2014/main" id="{EDE37C66-A55A-EE44-94BC-021853867E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96"/>
              <a:ext cx="0" cy="13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39" name="Line 103">
              <a:extLst>
                <a:ext uri="{FF2B5EF4-FFF2-40B4-BE49-F238E27FC236}">
                  <a16:creationId xmlns:a16="http://schemas.microsoft.com/office/drawing/2014/main" id="{3C03EEC2-02D8-4B4C-9D34-2D9C2E0BAB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96"/>
              <a:ext cx="0" cy="13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40" name="Line 104">
              <a:extLst>
                <a:ext uri="{FF2B5EF4-FFF2-40B4-BE49-F238E27FC236}">
                  <a16:creationId xmlns:a16="http://schemas.microsoft.com/office/drawing/2014/main" id="{48DCE637-65F9-7948-8B46-CBD3C888EB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16" y="96"/>
              <a:ext cx="457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41" name="Line 105">
              <a:extLst>
                <a:ext uri="{FF2B5EF4-FFF2-40B4-BE49-F238E27FC236}">
                  <a16:creationId xmlns:a16="http://schemas.microsoft.com/office/drawing/2014/main" id="{22EB12C5-217D-A441-BC0B-F982D87C7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226"/>
              <a:ext cx="0" cy="124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42" name="Line 106">
              <a:extLst>
                <a:ext uri="{FF2B5EF4-FFF2-40B4-BE49-F238E27FC236}">
                  <a16:creationId xmlns:a16="http://schemas.microsoft.com/office/drawing/2014/main" id="{6265B18E-9B87-634A-BF98-D7313C92CB5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73" y="96"/>
              <a:ext cx="467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43" name="Line 107">
              <a:extLst>
                <a:ext uri="{FF2B5EF4-FFF2-40B4-BE49-F238E27FC236}">
                  <a16:creationId xmlns:a16="http://schemas.microsoft.com/office/drawing/2014/main" id="{C3309351-1075-8A4D-8FEB-9B0B1E3710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226"/>
              <a:ext cx="0" cy="124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44" name="Line 108">
              <a:extLst>
                <a:ext uri="{FF2B5EF4-FFF2-40B4-BE49-F238E27FC236}">
                  <a16:creationId xmlns:a16="http://schemas.microsoft.com/office/drawing/2014/main" id="{13F2079E-F938-FC4C-A680-CBF083C463A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350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45" name="Line 109">
              <a:extLst>
                <a:ext uri="{FF2B5EF4-FFF2-40B4-BE49-F238E27FC236}">
                  <a16:creationId xmlns:a16="http://schemas.microsoft.com/office/drawing/2014/main" id="{FB802D40-7217-9643-ACA2-EE37E97A17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350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46" name="Line 110">
              <a:extLst>
                <a:ext uri="{FF2B5EF4-FFF2-40B4-BE49-F238E27FC236}">
                  <a16:creationId xmlns:a16="http://schemas.microsoft.com/office/drawing/2014/main" id="{003012E6-2C65-0E4B-8F74-104B88727F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475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47" name="Line 111">
              <a:extLst>
                <a:ext uri="{FF2B5EF4-FFF2-40B4-BE49-F238E27FC236}">
                  <a16:creationId xmlns:a16="http://schemas.microsoft.com/office/drawing/2014/main" id="{5CAB157F-85F0-814A-B2D0-CBFFF1D26E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475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48" name="Line 112">
              <a:extLst>
                <a:ext uri="{FF2B5EF4-FFF2-40B4-BE49-F238E27FC236}">
                  <a16:creationId xmlns:a16="http://schemas.microsoft.com/office/drawing/2014/main" id="{72EF2CA0-79E8-3A40-B9E1-01C5E5DFA4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601"/>
              <a:ext cx="0" cy="124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49" name="Line 113">
              <a:extLst>
                <a:ext uri="{FF2B5EF4-FFF2-40B4-BE49-F238E27FC236}">
                  <a16:creationId xmlns:a16="http://schemas.microsoft.com/office/drawing/2014/main" id="{18B0B1D8-B72D-5E46-9DDB-4C1DAD4010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601"/>
              <a:ext cx="0" cy="124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50" name="Line 114">
              <a:extLst>
                <a:ext uri="{FF2B5EF4-FFF2-40B4-BE49-F238E27FC236}">
                  <a16:creationId xmlns:a16="http://schemas.microsoft.com/office/drawing/2014/main" id="{6C8B6069-3290-994A-8E2D-6DC63B8DCA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725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51" name="Line 115">
              <a:extLst>
                <a:ext uri="{FF2B5EF4-FFF2-40B4-BE49-F238E27FC236}">
                  <a16:creationId xmlns:a16="http://schemas.microsoft.com/office/drawing/2014/main" id="{C5DAEA33-506B-C74D-928F-20A981CDFB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725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52" name="Line 116">
              <a:extLst>
                <a:ext uri="{FF2B5EF4-FFF2-40B4-BE49-F238E27FC236}">
                  <a16:creationId xmlns:a16="http://schemas.microsoft.com/office/drawing/2014/main" id="{52A80237-FBD0-A940-A006-A045362250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851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53" name="Line 117">
              <a:extLst>
                <a:ext uri="{FF2B5EF4-FFF2-40B4-BE49-F238E27FC236}">
                  <a16:creationId xmlns:a16="http://schemas.microsoft.com/office/drawing/2014/main" id="{F686B003-D210-224F-85A8-0CAFFD8573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851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54" name="Line 118">
              <a:extLst>
                <a:ext uri="{FF2B5EF4-FFF2-40B4-BE49-F238E27FC236}">
                  <a16:creationId xmlns:a16="http://schemas.microsoft.com/office/drawing/2014/main" id="{08F8498C-1838-8843-B3C2-21DAED12ED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976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55" name="Line 119">
              <a:extLst>
                <a:ext uri="{FF2B5EF4-FFF2-40B4-BE49-F238E27FC236}">
                  <a16:creationId xmlns:a16="http://schemas.microsoft.com/office/drawing/2014/main" id="{5006C958-80D1-4247-8D80-C6AF4738E9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976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56" name="Line 120">
              <a:extLst>
                <a:ext uri="{FF2B5EF4-FFF2-40B4-BE49-F238E27FC236}">
                  <a16:creationId xmlns:a16="http://schemas.microsoft.com/office/drawing/2014/main" id="{DC16A191-1A1C-924A-9DEC-93B8D45317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1102"/>
              <a:ext cx="0" cy="124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57" name="Line 121">
              <a:extLst>
                <a:ext uri="{FF2B5EF4-FFF2-40B4-BE49-F238E27FC236}">
                  <a16:creationId xmlns:a16="http://schemas.microsoft.com/office/drawing/2014/main" id="{1E0C424C-CA3D-0842-910A-3ADE58042E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1102"/>
              <a:ext cx="0" cy="124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58" name="Line 122">
              <a:extLst>
                <a:ext uri="{FF2B5EF4-FFF2-40B4-BE49-F238E27FC236}">
                  <a16:creationId xmlns:a16="http://schemas.microsoft.com/office/drawing/2014/main" id="{90E9A2F0-5668-7D42-98F2-358B741672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1226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59" name="Line 123">
              <a:extLst>
                <a:ext uri="{FF2B5EF4-FFF2-40B4-BE49-F238E27FC236}">
                  <a16:creationId xmlns:a16="http://schemas.microsoft.com/office/drawing/2014/main" id="{9CF45992-496E-2E46-810A-ADF43EAC1C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1226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60" name="Line 124">
              <a:extLst>
                <a:ext uri="{FF2B5EF4-FFF2-40B4-BE49-F238E27FC236}">
                  <a16:creationId xmlns:a16="http://schemas.microsoft.com/office/drawing/2014/main" id="{A6DCDE6F-866E-9842-B710-1F062500A3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1352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61" name="Line 125">
              <a:extLst>
                <a:ext uri="{FF2B5EF4-FFF2-40B4-BE49-F238E27FC236}">
                  <a16:creationId xmlns:a16="http://schemas.microsoft.com/office/drawing/2014/main" id="{318BF61A-F219-0541-B62C-85E2D378C2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1352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62" name="Line 126">
              <a:extLst>
                <a:ext uri="{FF2B5EF4-FFF2-40B4-BE49-F238E27FC236}">
                  <a16:creationId xmlns:a16="http://schemas.microsoft.com/office/drawing/2014/main" id="{1F4A4498-F7CD-624F-A54F-A9F86B8E57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1477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63" name="Line 127">
              <a:extLst>
                <a:ext uri="{FF2B5EF4-FFF2-40B4-BE49-F238E27FC236}">
                  <a16:creationId xmlns:a16="http://schemas.microsoft.com/office/drawing/2014/main" id="{807B7B2F-856F-FC44-A3CF-4AF56F8D1D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1477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64" name="Line 128">
              <a:extLst>
                <a:ext uri="{FF2B5EF4-FFF2-40B4-BE49-F238E27FC236}">
                  <a16:creationId xmlns:a16="http://schemas.microsoft.com/office/drawing/2014/main" id="{70C1C2CA-AA7A-9C49-8F3F-204661CA17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1602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65" name="Line 129">
              <a:extLst>
                <a:ext uri="{FF2B5EF4-FFF2-40B4-BE49-F238E27FC236}">
                  <a16:creationId xmlns:a16="http://schemas.microsoft.com/office/drawing/2014/main" id="{BD0F06A1-871D-6C42-89E5-546E96DF35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1602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66" name="Line 130">
              <a:extLst>
                <a:ext uri="{FF2B5EF4-FFF2-40B4-BE49-F238E27FC236}">
                  <a16:creationId xmlns:a16="http://schemas.microsoft.com/office/drawing/2014/main" id="{641A5481-C032-1F4F-953A-7932FF950E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1727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67" name="Line 131">
              <a:extLst>
                <a:ext uri="{FF2B5EF4-FFF2-40B4-BE49-F238E27FC236}">
                  <a16:creationId xmlns:a16="http://schemas.microsoft.com/office/drawing/2014/main" id="{CFEEB7EC-2075-7243-A337-7C07A0E625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1727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68" name="Line 132">
              <a:extLst>
                <a:ext uri="{FF2B5EF4-FFF2-40B4-BE49-F238E27FC236}">
                  <a16:creationId xmlns:a16="http://schemas.microsoft.com/office/drawing/2014/main" id="{368BC81F-BB81-EB41-AA28-C804A9EAB6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1853"/>
              <a:ext cx="0" cy="124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69" name="Line 133">
              <a:extLst>
                <a:ext uri="{FF2B5EF4-FFF2-40B4-BE49-F238E27FC236}">
                  <a16:creationId xmlns:a16="http://schemas.microsoft.com/office/drawing/2014/main" id="{E16CD452-B68D-7147-A1A5-2FBBD0200D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1853"/>
              <a:ext cx="0" cy="124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70" name="Line 134">
              <a:extLst>
                <a:ext uri="{FF2B5EF4-FFF2-40B4-BE49-F238E27FC236}">
                  <a16:creationId xmlns:a16="http://schemas.microsoft.com/office/drawing/2014/main" id="{41961CA6-AB2F-1B49-828B-7B4427895A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1977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71" name="Line 135">
              <a:extLst>
                <a:ext uri="{FF2B5EF4-FFF2-40B4-BE49-F238E27FC236}">
                  <a16:creationId xmlns:a16="http://schemas.microsoft.com/office/drawing/2014/main" id="{23CDACAE-CB88-104D-9E0A-C6A5D4DF9A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1977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72" name="Line 136">
              <a:extLst>
                <a:ext uri="{FF2B5EF4-FFF2-40B4-BE49-F238E27FC236}">
                  <a16:creationId xmlns:a16="http://schemas.microsoft.com/office/drawing/2014/main" id="{8DD45CEE-6300-8A44-B2F8-F1CD85DA2A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2103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73" name="Line 137">
              <a:extLst>
                <a:ext uri="{FF2B5EF4-FFF2-40B4-BE49-F238E27FC236}">
                  <a16:creationId xmlns:a16="http://schemas.microsoft.com/office/drawing/2014/main" id="{943D658B-3DA6-8E47-AD4F-AD4415BDED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2103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74" name="Line 138">
              <a:extLst>
                <a:ext uri="{FF2B5EF4-FFF2-40B4-BE49-F238E27FC236}">
                  <a16:creationId xmlns:a16="http://schemas.microsoft.com/office/drawing/2014/main" id="{F1154CDD-49A9-8745-9F5D-C4C9C93177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2228"/>
              <a:ext cx="0" cy="124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75" name="Line 139">
              <a:extLst>
                <a:ext uri="{FF2B5EF4-FFF2-40B4-BE49-F238E27FC236}">
                  <a16:creationId xmlns:a16="http://schemas.microsoft.com/office/drawing/2014/main" id="{77869AC2-5FDE-0D49-893F-9C553292DC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2228"/>
              <a:ext cx="0" cy="124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76" name="Line 140">
              <a:extLst>
                <a:ext uri="{FF2B5EF4-FFF2-40B4-BE49-F238E27FC236}">
                  <a16:creationId xmlns:a16="http://schemas.microsoft.com/office/drawing/2014/main" id="{210C28D3-C094-B64E-B590-C5BC582B8C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2352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77" name="Line 141">
              <a:extLst>
                <a:ext uri="{FF2B5EF4-FFF2-40B4-BE49-F238E27FC236}">
                  <a16:creationId xmlns:a16="http://schemas.microsoft.com/office/drawing/2014/main" id="{59E8F2C9-EAF5-AD47-8155-4244D294F6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2352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78" name="Line 142">
              <a:extLst>
                <a:ext uri="{FF2B5EF4-FFF2-40B4-BE49-F238E27FC236}">
                  <a16:creationId xmlns:a16="http://schemas.microsoft.com/office/drawing/2014/main" id="{1366C0D4-9AE0-F84C-9080-9B3ACCACAE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2478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79" name="Line 143">
              <a:extLst>
                <a:ext uri="{FF2B5EF4-FFF2-40B4-BE49-F238E27FC236}">
                  <a16:creationId xmlns:a16="http://schemas.microsoft.com/office/drawing/2014/main" id="{5BCD9F87-18C8-B744-B003-52F89698F2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2478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80" name="Line 144">
              <a:extLst>
                <a:ext uri="{FF2B5EF4-FFF2-40B4-BE49-F238E27FC236}">
                  <a16:creationId xmlns:a16="http://schemas.microsoft.com/office/drawing/2014/main" id="{51463B27-48A1-604B-B3DA-8CE564A386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2603"/>
              <a:ext cx="0" cy="129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81" name="Line 145">
              <a:extLst>
                <a:ext uri="{FF2B5EF4-FFF2-40B4-BE49-F238E27FC236}">
                  <a16:creationId xmlns:a16="http://schemas.microsoft.com/office/drawing/2014/main" id="{E55DE9A1-FED2-674B-B8C8-52E2FFF5AE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2603"/>
              <a:ext cx="0" cy="129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82" name="Line 146">
              <a:extLst>
                <a:ext uri="{FF2B5EF4-FFF2-40B4-BE49-F238E27FC236}">
                  <a16:creationId xmlns:a16="http://schemas.microsoft.com/office/drawing/2014/main" id="{691224E0-381F-4B4E-A387-F088BCA9C1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2732"/>
              <a:ext cx="0" cy="124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83" name="Line 147">
              <a:extLst>
                <a:ext uri="{FF2B5EF4-FFF2-40B4-BE49-F238E27FC236}">
                  <a16:creationId xmlns:a16="http://schemas.microsoft.com/office/drawing/2014/main" id="{95781A1F-373B-EE42-BED2-913431A4CD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2732"/>
              <a:ext cx="0" cy="124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84" name="Line 148">
              <a:extLst>
                <a:ext uri="{FF2B5EF4-FFF2-40B4-BE49-F238E27FC236}">
                  <a16:creationId xmlns:a16="http://schemas.microsoft.com/office/drawing/2014/main" id="{F077294A-1FB0-9542-9FDD-766EDBF645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2856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85" name="Line 149">
              <a:extLst>
                <a:ext uri="{FF2B5EF4-FFF2-40B4-BE49-F238E27FC236}">
                  <a16:creationId xmlns:a16="http://schemas.microsoft.com/office/drawing/2014/main" id="{A6FEB0BC-1923-514B-8353-ECEBC203F0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2856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86" name="Line 150">
              <a:extLst>
                <a:ext uri="{FF2B5EF4-FFF2-40B4-BE49-F238E27FC236}">
                  <a16:creationId xmlns:a16="http://schemas.microsoft.com/office/drawing/2014/main" id="{40735AFB-78F8-7C4B-AC19-67D33C1E99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2982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87" name="Line 151">
              <a:extLst>
                <a:ext uri="{FF2B5EF4-FFF2-40B4-BE49-F238E27FC236}">
                  <a16:creationId xmlns:a16="http://schemas.microsoft.com/office/drawing/2014/main" id="{F35DC84A-1885-DA44-B0D8-4B06240CDB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2982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88" name="Line 152">
              <a:extLst>
                <a:ext uri="{FF2B5EF4-FFF2-40B4-BE49-F238E27FC236}">
                  <a16:creationId xmlns:a16="http://schemas.microsoft.com/office/drawing/2014/main" id="{3865E957-F54B-CE4D-96F4-AA2A6B1C93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3107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89" name="Line 153">
              <a:extLst>
                <a:ext uri="{FF2B5EF4-FFF2-40B4-BE49-F238E27FC236}">
                  <a16:creationId xmlns:a16="http://schemas.microsoft.com/office/drawing/2014/main" id="{98AF9AA8-33CB-3D40-A890-8D6D7A7163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3107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90" name="Line 154">
              <a:extLst>
                <a:ext uri="{FF2B5EF4-FFF2-40B4-BE49-F238E27FC236}">
                  <a16:creationId xmlns:a16="http://schemas.microsoft.com/office/drawing/2014/main" id="{3924E51B-31CC-AD4B-8BD5-4E3FF4A9C1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3233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91" name="Line 155">
              <a:extLst>
                <a:ext uri="{FF2B5EF4-FFF2-40B4-BE49-F238E27FC236}">
                  <a16:creationId xmlns:a16="http://schemas.microsoft.com/office/drawing/2014/main" id="{54E2CC90-AC82-C44F-A048-D3791F6DE8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3233"/>
              <a:ext cx="0" cy="125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92" name="Line 156">
              <a:extLst>
                <a:ext uri="{FF2B5EF4-FFF2-40B4-BE49-F238E27FC236}">
                  <a16:creationId xmlns:a16="http://schemas.microsoft.com/office/drawing/2014/main" id="{93E52AF9-22BB-9E45-869B-7CF52F8EE1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3358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93" name="Line 157">
              <a:extLst>
                <a:ext uri="{FF2B5EF4-FFF2-40B4-BE49-F238E27FC236}">
                  <a16:creationId xmlns:a16="http://schemas.microsoft.com/office/drawing/2014/main" id="{9EFF3B53-239A-FD48-9B7A-EDB0242D9B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3358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94" name="Line 158">
              <a:extLst>
                <a:ext uri="{FF2B5EF4-FFF2-40B4-BE49-F238E27FC236}">
                  <a16:creationId xmlns:a16="http://schemas.microsoft.com/office/drawing/2014/main" id="{1D98AC53-50F2-C746-9EC2-4296257786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3484"/>
              <a:ext cx="0" cy="124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95" name="Line 159">
              <a:extLst>
                <a:ext uri="{FF2B5EF4-FFF2-40B4-BE49-F238E27FC236}">
                  <a16:creationId xmlns:a16="http://schemas.microsoft.com/office/drawing/2014/main" id="{A28B8014-3BF8-054D-859A-5347F1ACDA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3484"/>
              <a:ext cx="0" cy="124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96" name="Line 160">
              <a:extLst>
                <a:ext uri="{FF2B5EF4-FFF2-40B4-BE49-F238E27FC236}">
                  <a16:creationId xmlns:a16="http://schemas.microsoft.com/office/drawing/2014/main" id="{F6EBE201-0D09-8F4F-AE09-E966A1B21B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3608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97" name="Line 161">
              <a:extLst>
                <a:ext uri="{FF2B5EF4-FFF2-40B4-BE49-F238E27FC236}">
                  <a16:creationId xmlns:a16="http://schemas.microsoft.com/office/drawing/2014/main" id="{20520648-45E9-FB4D-95EE-83A36D4B55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3608"/>
              <a:ext cx="0" cy="126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98" name="Line 162">
              <a:extLst>
                <a:ext uri="{FF2B5EF4-FFF2-40B4-BE49-F238E27FC236}">
                  <a16:creationId xmlns:a16="http://schemas.microsoft.com/office/drawing/2014/main" id="{8290D8E6-2802-414E-B209-89D7F6B424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3734"/>
              <a:ext cx="0" cy="133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499" name="Line 163">
              <a:extLst>
                <a:ext uri="{FF2B5EF4-FFF2-40B4-BE49-F238E27FC236}">
                  <a16:creationId xmlns:a16="http://schemas.microsoft.com/office/drawing/2014/main" id="{61A28986-E955-1D4E-9050-0EFCAD7F0B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3734"/>
              <a:ext cx="0" cy="133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500" name="Line 164">
              <a:extLst>
                <a:ext uri="{FF2B5EF4-FFF2-40B4-BE49-F238E27FC236}">
                  <a16:creationId xmlns:a16="http://schemas.microsoft.com/office/drawing/2014/main" id="{641FFCD4-502A-EA42-9CFB-FB8963993C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3867"/>
              <a:ext cx="0" cy="133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501" name="Line 165">
              <a:extLst>
                <a:ext uri="{FF2B5EF4-FFF2-40B4-BE49-F238E27FC236}">
                  <a16:creationId xmlns:a16="http://schemas.microsoft.com/office/drawing/2014/main" id="{B57C0611-C1C4-9148-958B-EB7E1A1C99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3867"/>
              <a:ext cx="0" cy="133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502" name="Line 166">
              <a:extLst>
                <a:ext uri="{FF2B5EF4-FFF2-40B4-BE49-F238E27FC236}">
                  <a16:creationId xmlns:a16="http://schemas.microsoft.com/office/drawing/2014/main" id="{A728B4F1-C803-5F4B-903B-198A4643B1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4000"/>
              <a:ext cx="0" cy="193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503" name="Line 167">
              <a:extLst>
                <a:ext uri="{FF2B5EF4-FFF2-40B4-BE49-F238E27FC236}">
                  <a16:creationId xmlns:a16="http://schemas.microsoft.com/office/drawing/2014/main" id="{A2E97CC9-1C64-7D4F-B384-EF7F6B7D07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40" y="4000"/>
              <a:ext cx="0" cy="193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504" name="Line 168">
              <a:extLst>
                <a:ext uri="{FF2B5EF4-FFF2-40B4-BE49-F238E27FC236}">
                  <a16:creationId xmlns:a16="http://schemas.microsoft.com/office/drawing/2014/main" id="{DD1524A2-C865-D945-9756-9A700C2E11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16" y="4193"/>
              <a:ext cx="457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  <p:sp>
          <p:nvSpPr>
            <p:cNvPr id="14505" name="Line 169">
              <a:extLst>
                <a:ext uri="{FF2B5EF4-FFF2-40B4-BE49-F238E27FC236}">
                  <a16:creationId xmlns:a16="http://schemas.microsoft.com/office/drawing/2014/main" id="{F98FF921-306A-E24D-8140-C9BB851CEF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73" y="4193"/>
              <a:ext cx="467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endParaRPr lang="de-DE"/>
            </a:p>
          </p:txBody>
        </p:sp>
      </p:grpSp>
      <p:sp>
        <p:nvSpPr>
          <p:cNvPr id="14506" name="Rectangle 170">
            <a:extLst>
              <a:ext uri="{FF2B5EF4-FFF2-40B4-BE49-F238E27FC236}">
                <a16:creationId xmlns:a16="http://schemas.microsoft.com/office/drawing/2014/main" id="{85636E5B-67A0-0849-88E1-B4B1A3A67B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9975" y="3514725"/>
            <a:ext cx="6553200" cy="40640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de-DE" altLang="de-DE" sz="2000"/>
          </a:p>
        </p:txBody>
      </p:sp>
      <p:sp>
        <p:nvSpPr>
          <p:cNvPr id="14507" name="Line 172">
            <a:extLst>
              <a:ext uri="{FF2B5EF4-FFF2-40B4-BE49-F238E27FC236}">
                <a16:creationId xmlns:a16="http://schemas.microsoft.com/office/drawing/2014/main" id="{D8CCE3DD-D329-684B-95D3-6BBAEFB340E8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2538413" y="3448050"/>
            <a:ext cx="4816475" cy="0"/>
          </a:xfrm>
          <a:prstGeom prst="line">
            <a:avLst/>
          </a:prstGeom>
          <a:noFill/>
          <a:ln w="9525">
            <a:solidFill>
              <a:srgbClr val="2A276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endParaRPr lang="de-DE"/>
          </a:p>
        </p:txBody>
      </p:sp>
      <p:sp>
        <p:nvSpPr>
          <p:cNvPr id="14508" name="Line 173">
            <a:extLst>
              <a:ext uri="{FF2B5EF4-FFF2-40B4-BE49-F238E27FC236}">
                <a16:creationId xmlns:a16="http://schemas.microsoft.com/office/drawing/2014/main" id="{302C3643-B9AF-684E-AF30-D21827A09DA4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2527300" y="4319588"/>
            <a:ext cx="4827588" cy="0"/>
          </a:xfrm>
          <a:prstGeom prst="line">
            <a:avLst/>
          </a:prstGeom>
          <a:noFill/>
          <a:ln w="9525">
            <a:solidFill>
              <a:srgbClr val="2A276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endParaRPr lang="de-DE"/>
          </a:p>
        </p:txBody>
      </p:sp>
      <p:sp>
        <p:nvSpPr>
          <p:cNvPr id="14509" name="Text Box 175">
            <a:extLst>
              <a:ext uri="{FF2B5EF4-FFF2-40B4-BE49-F238E27FC236}">
                <a16:creationId xmlns:a16="http://schemas.microsoft.com/office/drawing/2014/main" id="{0BBEA4A2-C2A1-444D-927C-43E81F2F16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0"/>
            <a:ext cx="7604125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0" hangingPunct="0">
              <a:spcBef>
                <a:spcPct val="20000"/>
              </a:spcBef>
            </a:pPr>
            <a:r>
              <a:rPr lang="de-DE" altLang="de-DE" sz="2400" b="1">
                <a:solidFill>
                  <a:srgbClr val="414141"/>
                </a:solidFill>
              </a:rPr>
              <a:t>PISA 2003</a:t>
            </a:r>
            <a:r>
              <a:rPr lang="de-DE" altLang="de-DE" sz="2400">
                <a:solidFill>
                  <a:srgbClr val="414141"/>
                </a:solidFill>
              </a:rPr>
              <a:t>: Niveau und  Streuung der mathematischen Kompetenz</a:t>
            </a: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Fußzeilenplatzhalter 2">
            <a:extLst>
              <a:ext uri="{FF2B5EF4-FFF2-40B4-BE49-F238E27FC236}">
                <a16:creationId xmlns:a16="http://schemas.microsoft.com/office/drawing/2014/main" id="{75AA7522-9CED-5643-91A0-9DF53DAA69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156" name="Foliennummernplatzhalter 3">
            <a:extLst>
              <a:ext uri="{FF2B5EF4-FFF2-40B4-BE49-F238E27FC236}">
                <a16:creationId xmlns:a16="http://schemas.microsoft.com/office/drawing/2014/main" id="{F6DA7F15-78BD-6540-AB7C-07211DE727D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704FE-FC74-7D4E-81B2-AA1F527C36D2}" type="slidenum">
              <a:rPr lang="de-DE" altLang="de-DE"/>
              <a:pPr/>
              <a:t>6</a:t>
            </a:fld>
            <a:endParaRPr lang="de-DE" altLang="de-DE"/>
          </a:p>
        </p:txBody>
      </p:sp>
      <p:sp>
        <p:nvSpPr>
          <p:cNvPr id="30722" name="Rectangle 2">
            <a:extLst>
              <a:ext uri="{FF2B5EF4-FFF2-40B4-BE49-F238E27FC236}">
                <a16:creationId xmlns:a16="http://schemas.microsoft.com/office/drawing/2014/main" id="{3B9514FA-424C-CC4E-AD02-5ED38440B25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765175"/>
            <a:ext cx="7772400" cy="1143000"/>
          </a:xfrm>
        </p:spPr>
        <p:txBody>
          <a:bodyPr/>
          <a:lstStyle/>
          <a:p>
            <a:r>
              <a:rPr lang="de-DE" altLang="de-DE" sz="1600" b="1">
                <a:solidFill>
                  <a:schemeClr val="bg2"/>
                </a:solidFill>
              </a:rPr>
              <a:t>Idealtypische Verteilung der Grundschulkinder auf die weiterführen-</a:t>
            </a:r>
            <a:br>
              <a:rPr lang="de-DE" altLang="de-DE" sz="1600" b="1">
                <a:solidFill>
                  <a:schemeClr val="bg2"/>
                </a:solidFill>
              </a:rPr>
            </a:br>
            <a:r>
              <a:rPr lang="de-DE" altLang="de-DE" sz="1600" b="1">
                <a:solidFill>
                  <a:schemeClr val="bg2"/>
                </a:solidFill>
              </a:rPr>
              <a:t>den Schulformen nach Leseleistung in Prozent</a:t>
            </a:r>
            <a:r>
              <a:rPr lang="de-DE" altLang="de-DE" sz="160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30723" name="Freeform 3">
            <a:extLst>
              <a:ext uri="{FF2B5EF4-FFF2-40B4-BE49-F238E27FC236}">
                <a16:creationId xmlns:a16="http://schemas.microsoft.com/office/drawing/2014/main" id="{41783380-DB97-064C-9761-6B618D563E08}"/>
              </a:ext>
            </a:extLst>
          </p:cNvPr>
          <p:cNvSpPr>
            <a:spLocks/>
          </p:cNvSpPr>
          <p:nvPr/>
        </p:nvSpPr>
        <p:spPr bwMode="auto">
          <a:xfrm>
            <a:off x="2366963" y="4897438"/>
            <a:ext cx="1587" cy="15875"/>
          </a:xfrm>
          <a:custGeom>
            <a:avLst/>
            <a:gdLst>
              <a:gd name="T0" fmla="*/ 0 w 1"/>
              <a:gd name="T1" fmla="*/ 1 h 10"/>
              <a:gd name="T2" fmla="*/ 1 w 1"/>
              <a:gd name="T3" fmla="*/ 0 h 10"/>
              <a:gd name="T4" fmla="*/ 1 w 1"/>
              <a:gd name="T5" fmla="*/ 9 h 10"/>
              <a:gd name="T6" fmla="*/ 0 w 1"/>
              <a:gd name="T7" fmla="*/ 10 h 10"/>
              <a:gd name="T8" fmla="*/ 0 w 1"/>
              <a:gd name="T9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0">
                <a:moveTo>
                  <a:pt x="0" y="1"/>
                </a:moveTo>
                <a:lnTo>
                  <a:pt x="1" y="0"/>
                </a:lnTo>
                <a:lnTo>
                  <a:pt x="1" y="9"/>
                </a:lnTo>
                <a:lnTo>
                  <a:pt x="0" y="10"/>
                </a:lnTo>
                <a:lnTo>
                  <a:pt x="0" y="1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24" name="Freeform 4">
            <a:extLst>
              <a:ext uri="{FF2B5EF4-FFF2-40B4-BE49-F238E27FC236}">
                <a16:creationId xmlns:a16="http://schemas.microsoft.com/office/drawing/2014/main" id="{ADB05196-183C-CB47-A024-097F407B344D}"/>
              </a:ext>
            </a:extLst>
          </p:cNvPr>
          <p:cNvSpPr>
            <a:spLocks/>
          </p:cNvSpPr>
          <p:nvPr/>
        </p:nvSpPr>
        <p:spPr bwMode="auto">
          <a:xfrm>
            <a:off x="2420938" y="4867275"/>
            <a:ext cx="4762" cy="14288"/>
          </a:xfrm>
          <a:custGeom>
            <a:avLst/>
            <a:gdLst>
              <a:gd name="T0" fmla="*/ 0 w 3"/>
              <a:gd name="T1" fmla="*/ 1 h 9"/>
              <a:gd name="T2" fmla="*/ 2 w 3"/>
              <a:gd name="T3" fmla="*/ 0 h 9"/>
              <a:gd name="T4" fmla="*/ 3 w 3"/>
              <a:gd name="T5" fmla="*/ 8 h 9"/>
              <a:gd name="T6" fmla="*/ 1 w 3"/>
              <a:gd name="T7" fmla="*/ 9 h 9"/>
              <a:gd name="T8" fmla="*/ 0 w 3"/>
              <a:gd name="T9" fmla="*/ 1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9">
                <a:moveTo>
                  <a:pt x="0" y="1"/>
                </a:moveTo>
                <a:lnTo>
                  <a:pt x="2" y="0"/>
                </a:lnTo>
                <a:lnTo>
                  <a:pt x="3" y="8"/>
                </a:lnTo>
                <a:lnTo>
                  <a:pt x="1" y="9"/>
                </a:lnTo>
                <a:lnTo>
                  <a:pt x="0" y="1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25" name="Freeform 5">
            <a:extLst>
              <a:ext uri="{FF2B5EF4-FFF2-40B4-BE49-F238E27FC236}">
                <a16:creationId xmlns:a16="http://schemas.microsoft.com/office/drawing/2014/main" id="{D05C7743-CA07-3C45-A02D-14F35D7949CF}"/>
              </a:ext>
            </a:extLst>
          </p:cNvPr>
          <p:cNvSpPr>
            <a:spLocks/>
          </p:cNvSpPr>
          <p:nvPr/>
        </p:nvSpPr>
        <p:spPr bwMode="auto">
          <a:xfrm>
            <a:off x="2582863" y="4746625"/>
            <a:ext cx="15875" cy="1588"/>
          </a:xfrm>
          <a:custGeom>
            <a:avLst/>
            <a:gdLst>
              <a:gd name="T0" fmla="*/ 0 w 11"/>
              <a:gd name="T1" fmla="*/ 1 h 1"/>
              <a:gd name="T2" fmla="*/ 1 w 11"/>
              <a:gd name="T3" fmla="*/ 0 h 1"/>
              <a:gd name="T4" fmla="*/ 11 w 11"/>
              <a:gd name="T5" fmla="*/ 0 h 1"/>
              <a:gd name="T6" fmla="*/ 10 w 11"/>
              <a:gd name="T7" fmla="*/ 1 h 1"/>
              <a:gd name="T8" fmla="*/ 0 w 1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" h="1">
                <a:moveTo>
                  <a:pt x="0" y="1"/>
                </a:moveTo>
                <a:lnTo>
                  <a:pt x="1" y="0"/>
                </a:lnTo>
                <a:lnTo>
                  <a:pt x="11" y="0"/>
                </a:lnTo>
                <a:lnTo>
                  <a:pt x="10" y="1"/>
                </a:lnTo>
                <a:lnTo>
                  <a:pt x="0" y="1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26" name="Freeform 6">
            <a:extLst>
              <a:ext uri="{FF2B5EF4-FFF2-40B4-BE49-F238E27FC236}">
                <a16:creationId xmlns:a16="http://schemas.microsoft.com/office/drawing/2014/main" id="{6D5226EF-9BB4-EB4D-858D-091A3E17C2F8}"/>
              </a:ext>
            </a:extLst>
          </p:cNvPr>
          <p:cNvSpPr>
            <a:spLocks/>
          </p:cNvSpPr>
          <p:nvPr/>
        </p:nvSpPr>
        <p:spPr bwMode="auto">
          <a:xfrm>
            <a:off x="2733675" y="4603750"/>
            <a:ext cx="4763" cy="15875"/>
          </a:xfrm>
          <a:custGeom>
            <a:avLst/>
            <a:gdLst>
              <a:gd name="T0" fmla="*/ 0 w 3"/>
              <a:gd name="T1" fmla="*/ 1 h 10"/>
              <a:gd name="T2" fmla="*/ 2 w 3"/>
              <a:gd name="T3" fmla="*/ 0 h 10"/>
              <a:gd name="T4" fmla="*/ 3 w 3"/>
              <a:gd name="T5" fmla="*/ 9 h 10"/>
              <a:gd name="T6" fmla="*/ 1 w 3"/>
              <a:gd name="T7" fmla="*/ 10 h 10"/>
              <a:gd name="T8" fmla="*/ 0 w 3"/>
              <a:gd name="T9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10">
                <a:moveTo>
                  <a:pt x="0" y="1"/>
                </a:moveTo>
                <a:lnTo>
                  <a:pt x="2" y="0"/>
                </a:lnTo>
                <a:lnTo>
                  <a:pt x="3" y="9"/>
                </a:lnTo>
                <a:lnTo>
                  <a:pt x="1" y="10"/>
                </a:lnTo>
                <a:lnTo>
                  <a:pt x="0" y="1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27" name="Freeform 7">
            <a:extLst>
              <a:ext uri="{FF2B5EF4-FFF2-40B4-BE49-F238E27FC236}">
                <a16:creationId xmlns:a16="http://schemas.microsoft.com/office/drawing/2014/main" id="{AA243910-1C47-C74B-83A4-960961E66174}"/>
              </a:ext>
            </a:extLst>
          </p:cNvPr>
          <p:cNvSpPr>
            <a:spLocks/>
          </p:cNvSpPr>
          <p:nvPr/>
        </p:nvSpPr>
        <p:spPr bwMode="auto">
          <a:xfrm>
            <a:off x="2851150" y="4478338"/>
            <a:ext cx="20638" cy="9525"/>
          </a:xfrm>
          <a:custGeom>
            <a:avLst/>
            <a:gdLst>
              <a:gd name="T0" fmla="*/ 0 w 15"/>
              <a:gd name="T1" fmla="*/ 6 h 6"/>
              <a:gd name="T2" fmla="*/ 5 w 15"/>
              <a:gd name="T3" fmla="*/ 0 h 6"/>
              <a:gd name="T4" fmla="*/ 15 w 15"/>
              <a:gd name="T5" fmla="*/ 0 h 6"/>
              <a:gd name="T6" fmla="*/ 10 w 15"/>
              <a:gd name="T7" fmla="*/ 6 h 6"/>
              <a:gd name="T8" fmla="*/ 0 w 15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6">
                <a:moveTo>
                  <a:pt x="0" y="6"/>
                </a:moveTo>
                <a:lnTo>
                  <a:pt x="5" y="0"/>
                </a:lnTo>
                <a:lnTo>
                  <a:pt x="15" y="0"/>
                </a:lnTo>
                <a:lnTo>
                  <a:pt x="10" y="6"/>
                </a:lnTo>
                <a:lnTo>
                  <a:pt x="0" y="6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28" name="Freeform 8">
            <a:extLst>
              <a:ext uri="{FF2B5EF4-FFF2-40B4-BE49-F238E27FC236}">
                <a16:creationId xmlns:a16="http://schemas.microsoft.com/office/drawing/2014/main" id="{4E83FF7A-77B2-8E4A-B059-965654C7DAEF}"/>
              </a:ext>
            </a:extLst>
          </p:cNvPr>
          <p:cNvSpPr>
            <a:spLocks/>
          </p:cNvSpPr>
          <p:nvPr/>
        </p:nvSpPr>
        <p:spPr bwMode="auto">
          <a:xfrm>
            <a:off x="3228975" y="3911600"/>
            <a:ext cx="14288" cy="4763"/>
          </a:xfrm>
          <a:custGeom>
            <a:avLst/>
            <a:gdLst>
              <a:gd name="T0" fmla="*/ 0 w 10"/>
              <a:gd name="T1" fmla="*/ 3 h 3"/>
              <a:gd name="T2" fmla="*/ 1 w 10"/>
              <a:gd name="T3" fmla="*/ 0 h 3"/>
              <a:gd name="T4" fmla="*/ 10 w 10"/>
              <a:gd name="T5" fmla="*/ 0 h 3"/>
              <a:gd name="T6" fmla="*/ 9 w 10"/>
              <a:gd name="T7" fmla="*/ 3 h 3"/>
              <a:gd name="T8" fmla="*/ 0 w 10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" h="3">
                <a:moveTo>
                  <a:pt x="0" y="3"/>
                </a:moveTo>
                <a:lnTo>
                  <a:pt x="1" y="0"/>
                </a:lnTo>
                <a:lnTo>
                  <a:pt x="10" y="0"/>
                </a:lnTo>
                <a:lnTo>
                  <a:pt x="9" y="3"/>
                </a:lnTo>
                <a:lnTo>
                  <a:pt x="0" y="3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29" name="Freeform 9">
            <a:extLst>
              <a:ext uri="{FF2B5EF4-FFF2-40B4-BE49-F238E27FC236}">
                <a16:creationId xmlns:a16="http://schemas.microsoft.com/office/drawing/2014/main" id="{85CD62D3-DB94-DE4B-81B4-742FFB51B310}"/>
              </a:ext>
            </a:extLst>
          </p:cNvPr>
          <p:cNvSpPr>
            <a:spLocks/>
          </p:cNvSpPr>
          <p:nvPr/>
        </p:nvSpPr>
        <p:spPr bwMode="auto">
          <a:xfrm>
            <a:off x="3638550" y="3144838"/>
            <a:ext cx="14288" cy="9525"/>
          </a:xfrm>
          <a:custGeom>
            <a:avLst/>
            <a:gdLst>
              <a:gd name="T0" fmla="*/ 0 w 11"/>
              <a:gd name="T1" fmla="*/ 6 h 6"/>
              <a:gd name="T2" fmla="*/ 2 w 11"/>
              <a:gd name="T3" fmla="*/ 0 h 6"/>
              <a:gd name="T4" fmla="*/ 11 w 11"/>
              <a:gd name="T5" fmla="*/ 0 h 6"/>
              <a:gd name="T6" fmla="*/ 9 w 11"/>
              <a:gd name="T7" fmla="*/ 6 h 6"/>
              <a:gd name="T8" fmla="*/ 0 w 11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" h="6">
                <a:moveTo>
                  <a:pt x="0" y="6"/>
                </a:moveTo>
                <a:lnTo>
                  <a:pt x="2" y="0"/>
                </a:lnTo>
                <a:lnTo>
                  <a:pt x="11" y="0"/>
                </a:lnTo>
                <a:lnTo>
                  <a:pt x="9" y="6"/>
                </a:lnTo>
                <a:lnTo>
                  <a:pt x="0" y="6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30" name="Freeform 10">
            <a:extLst>
              <a:ext uri="{FF2B5EF4-FFF2-40B4-BE49-F238E27FC236}">
                <a16:creationId xmlns:a16="http://schemas.microsoft.com/office/drawing/2014/main" id="{5E12B26E-F414-3D41-ADED-0E2777417874}"/>
              </a:ext>
            </a:extLst>
          </p:cNvPr>
          <p:cNvSpPr>
            <a:spLocks/>
          </p:cNvSpPr>
          <p:nvPr/>
        </p:nvSpPr>
        <p:spPr bwMode="auto">
          <a:xfrm>
            <a:off x="3749675" y="3013075"/>
            <a:ext cx="14288" cy="1588"/>
          </a:xfrm>
          <a:custGeom>
            <a:avLst/>
            <a:gdLst>
              <a:gd name="T0" fmla="*/ 0 w 11"/>
              <a:gd name="T1" fmla="*/ 1 h 1"/>
              <a:gd name="T2" fmla="*/ 1 w 11"/>
              <a:gd name="T3" fmla="*/ 0 h 1"/>
              <a:gd name="T4" fmla="*/ 11 w 11"/>
              <a:gd name="T5" fmla="*/ 0 h 1"/>
              <a:gd name="T6" fmla="*/ 10 w 11"/>
              <a:gd name="T7" fmla="*/ 1 h 1"/>
              <a:gd name="T8" fmla="*/ 0 w 1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" h="1">
                <a:moveTo>
                  <a:pt x="0" y="1"/>
                </a:moveTo>
                <a:lnTo>
                  <a:pt x="1" y="0"/>
                </a:lnTo>
                <a:lnTo>
                  <a:pt x="11" y="0"/>
                </a:lnTo>
                <a:lnTo>
                  <a:pt x="10" y="1"/>
                </a:lnTo>
                <a:lnTo>
                  <a:pt x="0" y="1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31" name="Freeform 11">
            <a:extLst>
              <a:ext uri="{FF2B5EF4-FFF2-40B4-BE49-F238E27FC236}">
                <a16:creationId xmlns:a16="http://schemas.microsoft.com/office/drawing/2014/main" id="{7803DFE1-6382-7745-B949-6EA5B6D9C10D}"/>
              </a:ext>
            </a:extLst>
          </p:cNvPr>
          <p:cNvSpPr>
            <a:spLocks/>
          </p:cNvSpPr>
          <p:nvPr/>
        </p:nvSpPr>
        <p:spPr bwMode="auto">
          <a:xfrm>
            <a:off x="4318000" y="2987675"/>
            <a:ext cx="1588" cy="14288"/>
          </a:xfrm>
          <a:custGeom>
            <a:avLst/>
            <a:gdLst>
              <a:gd name="T0" fmla="*/ 0 w 1"/>
              <a:gd name="T1" fmla="*/ 1 h 9"/>
              <a:gd name="T2" fmla="*/ 1 w 1"/>
              <a:gd name="T3" fmla="*/ 0 h 9"/>
              <a:gd name="T4" fmla="*/ 1 w 1"/>
              <a:gd name="T5" fmla="*/ 8 h 9"/>
              <a:gd name="T6" fmla="*/ 0 w 1"/>
              <a:gd name="T7" fmla="*/ 9 h 9"/>
              <a:gd name="T8" fmla="*/ 0 w 1"/>
              <a:gd name="T9" fmla="*/ 1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9">
                <a:moveTo>
                  <a:pt x="0" y="1"/>
                </a:moveTo>
                <a:lnTo>
                  <a:pt x="1" y="0"/>
                </a:lnTo>
                <a:lnTo>
                  <a:pt x="1" y="8"/>
                </a:lnTo>
                <a:lnTo>
                  <a:pt x="0" y="9"/>
                </a:lnTo>
                <a:lnTo>
                  <a:pt x="0" y="1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32" name="Freeform 12">
            <a:extLst>
              <a:ext uri="{FF2B5EF4-FFF2-40B4-BE49-F238E27FC236}">
                <a16:creationId xmlns:a16="http://schemas.microsoft.com/office/drawing/2014/main" id="{1B77DBFE-1045-7744-8760-AD2B7E0EE107}"/>
              </a:ext>
            </a:extLst>
          </p:cNvPr>
          <p:cNvSpPr>
            <a:spLocks/>
          </p:cNvSpPr>
          <p:nvPr/>
        </p:nvSpPr>
        <p:spPr bwMode="auto">
          <a:xfrm>
            <a:off x="4625975" y="3362325"/>
            <a:ext cx="15875" cy="3175"/>
          </a:xfrm>
          <a:custGeom>
            <a:avLst/>
            <a:gdLst>
              <a:gd name="T0" fmla="*/ 0 w 12"/>
              <a:gd name="T1" fmla="*/ 0 h 2"/>
              <a:gd name="T2" fmla="*/ 2 w 12"/>
              <a:gd name="T3" fmla="*/ 2 h 2"/>
              <a:gd name="T4" fmla="*/ 12 w 12"/>
              <a:gd name="T5" fmla="*/ 2 h 2"/>
              <a:gd name="T6" fmla="*/ 10 w 12"/>
              <a:gd name="T7" fmla="*/ 0 h 2"/>
              <a:gd name="T8" fmla="*/ 0 w 12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" h="2">
                <a:moveTo>
                  <a:pt x="0" y="0"/>
                </a:moveTo>
                <a:lnTo>
                  <a:pt x="2" y="2"/>
                </a:lnTo>
                <a:lnTo>
                  <a:pt x="12" y="2"/>
                </a:lnTo>
                <a:lnTo>
                  <a:pt x="10" y="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33" name="Freeform 13">
            <a:extLst>
              <a:ext uri="{FF2B5EF4-FFF2-40B4-BE49-F238E27FC236}">
                <a16:creationId xmlns:a16="http://schemas.microsoft.com/office/drawing/2014/main" id="{96EC0F0C-4F52-6040-8949-0F0DDF9BA98D}"/>
              </a:ext>
            </a:extLst>
          </p:cNvPr>
          <p:cNvSpPr>
            <a:spLocks/>
          </p:cNvSpPr>
          <p:nvPr/>
        </p:nvSpPr>
        <p:spPr bwMode="auto">
          <a:xfrm>
            <a:off x="5032375" y="3906838"/>
            <a:ext cx="17463" cy="6350"/>
          </a:xfrm>
          <a:custGeom>
            <a:avLst/>
            <a:gdLst>
              <a:gd name="T0" fmla="*/ 0 w 13"/>
              <a:gd name="T1" fmla="*/ 0 h 4"/>
              <a:gd name="T2" fmla="*/ 3 w 13"/>
              <a:gd name="T3" fmla="*/ 4 h 4"/>
              <a:gd name="T4" fmla="*/ 13 w 13"/>
              <a:gd name="T5" fmla="*/ 4 h 4"/>
              <a:gd name="T6" fmla="*/ 10 w 13"/>
              <a:gd name="T7" fmla="*/ 0 h 4"/>
              <a:gd name="T8" fmla="*/ 0 w 13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" h="4">
                <a:moveTo>
                  <a:pt x="0" y="0"/>
                </a:moveTo>
                <a:lnTo>
                  <a:pt x="3" y="4"/>
                </a:lnTo>
                <a:lnTo>
                  <a:pt x="13" y="4"/>
                </a:lnTo>
                <a:lnTo>
                  <a:pt x="10" y="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34" name="Freeform 14">
            <a:extLst>
              <a:ext uri="{FF2B5EF4-FFF2-40B4-BE49-F238E27FC236}">
                <a16:creationId xmlns:a16="http://schemas.microsoft.com/office/drawing/2014/main" id="{CE9A13BC-63B7-0D46-AAE7-C2C65234F68E}"/>
              </a:ext>
            </a:extLst>
          </p:cNvPr>
          <p:cNvSpPr>
            <a:spLocks/>
          </p:cNvSpPr>
          <p:nvPr/>
        </p:nvSpPr>
        <p:spPr bwMode="auto">
          <a:xfrm>
            <a:off x="5567363" y="4505325"/>
            <a:ext cx="4762" cy="19050"/>
          </a:xfrm>
          <a:custGeom>
            <a:avLst/>
            <a:gdLst>
              <a:gd name="T0" fmla="*/ 0 w 4"/>
              <a:gd name="T1" fmla="*/ 10 h 12"/>
              <a:gd name="T2" fmla="*/ 3 w 4"/>
              <a:gd name="T3" fmla="*/ 12 h 12"/>
              <a:gd name="T4" fmla="*/ 4 w 4"/>
              <a:gd name="T5" fmla="*/ 2 h 12"/>
              <a:gd name="T6" fmla="*/ 1 w 4"/>
              <a:gd name="T7" fmla="*/ 0 h 12"/>
              <a:gd name="T8" fmla="*/ 0 w 4"/>
              <a:gd name="T9" fmla="*/ 1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12">
                <a:moveTo>
                  <a:pt x="0" y="10"/>
                </a:moveTo>
                <a:lnTo>
                  <a:pt x="3" y="12"/>
                </a:lnTo>
                <a:lnTo>
                  <a:pt x="4" y="2"/>
                </a:lnTo>
                <a:lnTo>
                  <a:pt x="1" y="0"/>
                </a:lnTo>
                <a:lnTo>
                  <a:pt x="0" y="1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35" name="Freeform 15">
            <a:extLst>
              <a:ext uri="{FF2B5EF4-FFF2-40B4-BE49-F238E27FC236}">
                <a16:creationId xmlns:a16="http://schemas.microsoft.com/office/drawing/2014/main" id="{DF4A76F0-4C99-CD4B-AEBE-C90F136360F9}"/>
              </a:ext>
            </a:extLst>
          </p:cNvPr>
          <p:cNvSpPr>
            <a:spLocks/>
          </p:cNvSpPr>
          <p:nvPr/>
        </p:nvSpPr>
        <p:spPr bwMode="auto">
          <a:xfrm>
            <a:off x="6499225" y="5021263"/>
            <a:ext cx="6350" cy="15875"/>
          </a:xfrm>
          <a:custGeom>
            <a:avLst/>
            <a:gdLst>
              <a:gd name="T0" fmla="*/ 0 w 5"/>
              <a:gd name="T1" fmla="*/ 1 h 10"/>
              <a:gd name="T2" fmla="*/ 5 w 5"/>
              <a:gd name="T3" fmla="*/ 0 h 10"/>
              <a:gd name="T4" fmla="*/ 5 w 5"/>
              <a:gd name="T5" fmla="*/ 9 h 10"/>
              <a:gd name="T6" fmla="*/ 0 w 5"/>
              <a:gd name="T7" fmla="*/ 10 h 10"/>
              <a:gd name="T8" fmla="*/ 0 w 5"/>
              <a:gd name="T9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10">
                <a:moveTo>
                  <a:pt x="0" y="1"/>
                </a:moveTo>
                <a:lnTo>
                  <a:pt x="5" y="0"/>
                </a:lnTo>
                <a:lnTo>
                  <a:pt x="5" y="9"/>
                </a:lnTo>
                <a:lnTo>
                  <a:pt x="0" y="10"/>
                </a:lnTo>
                <a:lnTo>
                  <a:pt x="0" y="1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36" name="Rectangle 16">
            <a:extLst>
              <a:ext uri="{FF2B5EF4-FFF2-40B4-BE49-F238E27FC236}">
                <a16:creationId xmlns:a16="http://schemas.microsoft.com/office/drawing/2014/main" id="{C2225528-40D8-E941-B826-E5A0C33506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1682750"/>
            <a:ext cx="7289800" cy="3900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37" name="Rectangle 17">
            <a:extLst>
              <a:ext uri="{FF2B5EF4-FFF2-40B4-BE49-F238E27FC236}">
                <a16:creationId xmlns:a16="http://schemas.microsoft.com/office/drawing/2014/main" id="{8D2BD016-5F66-DB46-9028-93DB1782DE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1695450"/>
            <a:ext cx="7289800" cy="384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38" name="Rectangle 18">
            <a:extLst>
              <a:ext uri="{FF2B5EF4-FFF2-40B4-BE49-F238E27FC236}">
                <a16:creationId xmlns:a16="http://schemas.microsoft.com/office/drawing/2014/main" id="{6E2ACBA9-1C76-FC4B-849A-BFD70B4011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750" y="1697038"/>
            <a:ext cx="7272338" cy="3973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39" name="Rectangle 19">
            <a:extLst>
              <a:ext uri="{FF2B5EF4-FFF2-40B4-BE49-F238E27FC236}">
                <a16:creationId xmlns:a16="http://schemas.microsoft.com/office/drawing/2014/main" id="{0000EA76-836F-E047-ABA4-86CCE9509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4763" y="2349500"/>
            <a:ext cx="6148387" cy="292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40" name="Rectangle 20">
            <a:extLst>
              <a:ext uri="{FF2B5EF4-FFF2-40B4-BE49-F238E27FC236}">
                <a16:creationId xmlns:a16="http://schemas.microsoft.com/office/drawing/2014/main" id="{A720F29E-D55C-0B4D-B4E9-7889D146A2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850" y="1052513"/>
            <a:ext cx="7280275" cy="3929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41" name="Rectangle 21">
            <a:extLst>
              <a:ext uri="{FF2B5EF4-FFF2-40B4-BE49-F238E27FC236}">
                <a16:creationId xmlns:a16="http://schemas.microsoft.com/office/drawing/2014/main" id="{1A5E8AA7-ACB6-4E41-9D56-5B28AB7F7E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62063" y="1989138"/>
            <a:ext cx="6203950" cy="321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42" name="Line 22">
            <a:extLst>
              <a:ext uri="{FF2B5EF4-FFF2-40B4-BE49-F238E27FC236}">
                <a16:creationId xmlns:a16="http://schemas.microsoft.com/office/drawing/2014/main" id="{506EDD16-2F78-DA42-95FE-2120C6FD7D82}"/>
              </a:ext>
            </a:extLst>
          </p:cNvPr>
          <p:cNvSpPr>
            <a:spLocks noChangeShapeType="1"/>
          </p:cNvSpPr>
          <p:nvPr/>
        </p:nvSpPr>
        <p:spPr bwMode="auto">
          <a:xfrm>
            <a:off x="1223963" y="5203825"/>
            <a:ext cx="6242050" cy="1588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43" name="Line 23">
            <a:extLst>
              <a:ext uri="{FF2B5EF4-FFF2-40B4-BE49-F238E27FC236}">
                <a16:creationId xmlns:a16="http://schemas.microsoft.com/office/drawing/2014/main" id="{46E944F4-B6AE-F74C-8650-F4554FE2242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81175" y="5205413"/>
            <a:ext cx="1588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44" name="Line 24">
            <a:extLst>
              <a:ext uri="{FF2B5EF4-FFF2-40B4-BE49-F238E27FC236}">
                <a16:creationId xmlns:a16="http://schemas.microsoft.com/office/drawing/2014/main" id="{3545A37C-2EC5-C942-966B-19168A38AF6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301875" y="5205413"/>
            <a:ext cx="1588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45" name="Line 25">
            <a:extLst>
              <a:ext uri="{FF2B5EF4-FFF2-40B4-BE49-F238E27FC236}">
                <a16:creationId xmlns:a16="http://schemas.microsoft.com/office/drawing/2014/main" id="{81E9F10B-CB3E-7943-A75E-7F7A8512C08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09875" y="5205413"/>
            <a:ext cx="0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46" name="Line 26">
            <a:extLst>
              <a:ext uri="{FF2B5EF4-FFF2-40B4-BE49-F238E27FC236}">
                <a16:creationId xmlns:a16="http://schemas.microsoft.com/office/drawing/2014/main" id="{4757E9CA-7B39-924C-8686-B689F63FF62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330575" y="5205413"/>
            <a:ext cx="1588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47" name="Line 27">
            <a:extLst>
              <a:ext uri="{FF2B5EF4-FFF2-40B4-BE49-F238E27FC236}">
                <a16:creationId xmlns:a16="http://schemas.microsoft.com/office/drawing/2014/main" id="{08E519E9-7135-F442-AC1B-F3C83D7C6A8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51275" y="5205413"/>
            <a:ext cx="1588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48" name="Line 28">
            <a:extLst>
              <a:ext uri="{FF2B5EF4-FFF2-40B4-BE49-F238E27FC236}">
                <a16:creationId xmlns:a16="http://schemas.microsoft.com/office/drawing/2014/main" id="{0018C140-B240-BE44-BAB9-5A19A930A1C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370388" y="5205413"/>
            <a:ext cx="1587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49" name="Line 29">
            <a:extLst>
              <a:ext uri="{FF2B5EF4-FFF2-40B4-BE49-F238E27FC236}">
                <a16:creationId xmlns:a16="http://schemas.microsoft.com/office/drawing/2014/main" id="{D88BD468-E689-E441-BBFC-6EB93CA45F7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79975" y="5205413"/>
            <a:ext cx="0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50" name="Line 30">
            <a:extLst>
              <a:ext uri="{FF2B5EF4-FFF2-40B4-BE49-F238E27FC236}">
                <a16:creationId xmlns:a16="http://schemas.microsoft.com/office/drawing/2014/main" id="{51CAA50F-82A4-6144-A65F-4AA4E54BA1A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00675" y="5205413"/>
            <a:ext cx="1588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51" name="Line 31">
            <a:extLst>
              <a:ext uri="{FF2B5EF4-FFF2-40B4-BE49-F238E27FC236}">
                <a16:creationId xmlns:a16="http://schemas.microsoft.com/office/drawing/2014/main" id="{9C620704-2C81-7448-B83C-33972166553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18200" y="5205413"/>
            <a:ext cx="1588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52" name="Line 32">
            <a:extLst>
              <a:ext uri="{FF2B5EF4-FFF2-40B4-BE49-F238E27FC236}">
                <a16:creationId xmlns:a16="http://schemas.microsoft.com/office/drawing/2014/main" id="{F2BEE8EB-3D99-B54E-8399-D5185E5FB08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38900" y="5205413"/>
            <a:ext cx="1588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53" name="Line 33">
            <a:extLst>
              <a:ext uri="{FF2B5EF4-FFF2-40B4-BE49-F238E27FC236}">
                <a16:creationId xmlns:a16="http://schemas.microsoft.com/office/drawing/2014/main" id="{76717C62-90D0-224B-8BEC-513F54B0050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946900" y="5205413"/>
            <a:ext cx="1588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54" name="Line 34">
            <a:extLst>
              <a:ext uri="{FF2B5EF4-FFF2-40B4-BE49-F238E27FC236}">
                <a16:creationId xmlns:a16="http://schemas.microsoft.com/office/drawing/2014/main" id="{C4F11AA4-A05F-554D-B99C-0B2496DEEF4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466013" y="5205413"/>
            <a:ext cx="1587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756" name="Rectangle 36">
            <a:extLst>
              <a:ext uri="{FF2B5EF4-FFF2-40B4-BE49-F238E27FC236}">
                <a16:creationId xmlns:a16="http://schemas.microsoft.com/office/drawing/2014/main" id="{9BFCDDC8-DC3D-144B-80A7-46294D56C1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425" y="5337175"/>
            <a:ext cx="295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altLang="de-DE" sz="1400">
                <a:solidFill>
                  <a:srgbClr val="000000"/>
                </a:solidFill>
              </a:rPr>
              <a:t>200</a:t>
            </a:r>
            <a:endParaRPr lang="de-DE" altLang="de-DE" sz="1400"/>
          </a:p>
        </p:txBody>
      </p:sp>
      <p:sp>
        <p:nvSpPr>
          <p:cNvPr id="30757" name="Rectangle 37">
            <a:extLst>
              <a:ext uri="{FF2B5EF4-FFF2-40B4-BE49-F238E27FC236}">
                <a16:creationId xmlns:a16="http://schemas.microsoft.com/office/drawing/2014/main" id="{882275DF-7584-5F43-91EB-9DD2A716DA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5337175"/>
            <a:ext cx="295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altLang="de-DE" sz="1400">
                <a:solidFill>
                  <a:srgbClr val="000000"/>
                </a:solidFill>
              </a:rPr>
              <a:t>250</a:t>
            </a:r>
            <a:endParaRPr lang="de-DE" altLang="de-DE" sz="1400"/>
          </a:p>
        </p:txBody>
      </p:sp>
      <p:sp>
        <p:nvSpPr>
          <p:cNvPr id="30758" name="Rectangle 38">
            <a:extLst>
              <a:ext uri="{FF2B5EF4-FFF2-40B4-BE49-F238E27FC236}">
                <a16:creationId xmlns:a16="http://schemas.microsoft.com/office/drawing/2014/main" id="{D55DAC8F-3254-9F49-8A3F-04D7B55197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5337175"/>
            <a:ext cx="295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altLang="de-DE" sz="1400">
                <a:solidFill>
                  <a:srgbClr val="000000"/>
                </a:solidFill>
              </a:rPr>
              <a:t>300</a:t>
            </a:r>
            <a:endParaRPr lang="de-DE" altLang="de-DE" sz="1400"/>
          </a:p>
        </p:txBody>
      </p:sp>
      <p:sp>
        <p:nvSpPr>
          <p:cNvPr id="30759" name="Rectangle 39">
            <a:extLst>
              <a:ext uri="{FF2B5EF4-FFF2-40B4-BE49-F238E27FC236}">
                <a16:creationId xmlns:a16="http://schemas.microsoft.com/office/drawing/2014/main" id="{6F08F811-D2E9-9043-A89F-50CF4A5BE8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2238" y="5337175"/>
            <a:ext cx="295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altLang="de-DE" sz="1400">
                <a:solidFill>
                  <a:srgbClr val="000000"/>
                </a:solidFill>
              </a:rPr>
              <a:t>350</a:t>
            </a:r>
            <a:endParaRPr lang="de-DE" altLang="de-DE" sz="1400"/>
          </a:p>
        </p:txBody>
      </p:sp>
      <p:sp>
        <p:nvSpPr>
          <p:cNvPr id="30760" name="Rectangle 40">
            <a:extLst>
              <a:ext uri="{FF2B5EF4-FFF2-40B4-BE49-F238E27FC236}">
                <a16:creationId xmlns:a16="http://schemas.microsoft.com/office/drawing/2014/main" id="{841D4BC4-3AAC-554E-B189-28A814431C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82938" y="5337175"/>
            <a:ext cx="295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altLang="de-DE" sz="1400">
                <a:solidFill>
                  <a:srgbClr val="000000"/>
                </a:solidFill>
              </a:rPr>
              <a:t>400</a:t>
            </a:r>
            <a:endParaRPr lang="de-DE" altLang="de-DE" sz="1400"/>
          </a:p>
        </p:txBody>
      </p:sp>
      <p:sp>
        <p:nvSpPr>
          <p:cNvPr id="30761" name="Rectangle 41">
            <a:extLst>
              <a:ext uri="{FF2B5EF4-FFF2-40B4-BE49-F238E27FC236}">
                <a16:creationId xmlns:a16="http://schemas.microsoft.com/office/drawing/2014/main" id="{B7AA279F-D35F-4240-8E0F-D07A24CF6E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3638" y="5337175"/>
            <a:ext cx="295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altLang="de-DE" sz="1400">
                <a:solidFill>
                  <a:srgbClr val="000000"/>
                </a:solidFill>
              </a:rPr>
              <a:t>450</a:t>
            </a:r>
            <a:endParaRPr lang="de-DE" altLang="de-DE" sz="1400"/>
          </a:p>
        </p:txBody>
      </p:sp>
      <p:sp>
        <p:nvSpPr>
          <p:cNvPr id="30762" name="Rectangle 42">
            <a:extLst>
              <a:ext uri="{FF2B5EF4-FFF2-40B4-BE49-F238E27FC236}">
                <a16:creationId xmlns:a16="http://schemas.microsoft.com/office/drawing/2014/main" id="{C73D91C5-76CD-4A44-A7DA-623E0831DE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0" y="5337175"/>
            <a:ext cx="295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altLang="de-DE" sz="1400">
                <a:solidFill>
                  <a:srgbClr val="000000"/>
                </a:solidFill>
              </a:rPr>
              <a:t>500</a:t>
            </a:r>
            <a:endParaRPr lang="de-DE" altLang="de-DE" sz="1400"/>
          </a:p>
        </p:txBody>
      </p:sp>
      <p:sp>
        <p:nvSpPr>
          <p:cNvPr id="30763" name="Rectangle 43">
            <a:extLst>
              <a:ext uri="{FF2B5EF4-FFF2-40B4-BE49-F238E27FC236}">
                <a16:creationId xmlns:a16="http://schemas.microsoft.com/office/drawing/2014/main" id="{C045EB26-1C6D-B74C-BCC3-1EEBC1AB10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0750" y="5337175"/>
            <a:ext cx="295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altLang="de-DE" sz="1400">
                <a:solidFill>
                  <a:srgbClr val="000000"/>
                </a:solidFill>
              </a:rPr>
              <a:t>550</a:t>
            </a:r>
            <a:endParaRPr lang="de-DE" altLang="de-DE" sz="1400"/>
          </a:p>
        </p:txBody>
      </p:sp>
      <p:sp>
        <p:nvSpPr>
          <p:cNvPr id="30764" name="Rectangle 44">
            <a:extLst>
              <a:ext uri="{FF2B5EF4-FFF2-40B4-BE49-F238E27FC236}">
                <a16:creationId xmlns:a16="http://schemas.microsoft.com/office/drawing/2014/main" id="{659593FF-8731-044C-B446-6A9D661B70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1450" y="5337175"/>
            <a:ext cx="295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altLang="de-DE" sz="1400">
                <a:solidFill>
                  <a:srgbClr val="000000"/>
                </a:solidFill>
              </a:rPr>
              <a:t>600</a:t>
            </a:r>
            <a:endParaRPr lang="de-DE" altLang="de-DE" sz="1400"/>
          </a:p>
        </p:txBody>
      </p:sp>
      <p:sp>
        <p:nvSpPr>
          <p:cNvPr id="30765" name="Rectangle 45">
            <a:extLst>
              <a:ext uri="{FF2B5EF4-FFF2-40B4-BE49-F238E27FC236}">
                <a16:creationId xmlns:a16="http://schemas.microsoft.com/office/drawing/2014/main" id="{00EB3AB0-5432-C340-BBAB-FE214CB1C0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72150" y="5337175"/>
            <a:ext cx="295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altLang="de-DE" sz="1400">
                <a:solidFill>
                  <a:srgbClr val="000000"/>
                </a:solidFill>
              </a:rPr>
              <a:t>650</a:t>
            </a:r>
            <a:endParaRPr lang="de-DE" altLang="de-DE" sz="1400"/>
          </a:p>
        </p:txBody>
      </p:sp>
      <p:sp>
        <p:nvSpPr>
          <p:cNvPr id="30766" name="Rectangle 46">
            <a:extLst>
              <a:ext uri="{FF2B5EF4-FFF2-40B4-BE49-F238E27FC236}">
                <a16:creationId xmlns:a16="http://schemas.microsoft.com/office/drawing/2014/main" id="{A7DA9BD3-994A-D444-8B7C-65FE77C04F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1263" y="5337175"/>
            <a:ext cx="295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altLang="de-DE" sz="1400">
                <a:solidFill>
                  <a:srgbClr val="000000"/>
                </a:solidFill>
              </a:rPr>
              <a:t>700</a:t>
            </a:r>
            <a:endParaRPr lang="de-DE" altLang="de-DE" sz="1400"/>
          </a:p>
        </p:txBody>
      </p:sp>
      <p:sp>
        <p:nvSpPr>
          <p:cNvPr id="30767" name="Rectangle 47">
            <a:extLst>
              <a:ext uri="{FF2B5EF4-FFF2-40B4-BE49-F238E27FC236}">
                <a16:creationId xmlns:a16="http://schemas.microsoft.com/office/drawing/2014/main" id="{5804F8C6-B548-7F4C-9A53-90162C5F15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9263" y="5337175"/>
            <a:ext cx="295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altLang="de-DE" sz="1400">
                <a:solidFill>
                  <a:srgbClr val="000000"/>
                </a:solidFill>
              </a:rPr>
              <a:t>750</a:t>
            </a:r>
            <a:endParaRPr lang="de-DE" altLang="de-DE" sz="1400"/>
          </a:p>
        </p:txBody>
      </p:sp>
      <p:sp>
        <p:nvSpPr>
          <p:cNvPr id="30768" name="Rectangle 48">
            <a:extLst>
              <a:ext uri="{FF2B5EF4-FFF2-40B4-BE49-F238E27FC236}">
                <a16:creationId xmlns:a16="http://schemas.microsoft.com/office/drawing/2014/main" id="{1313175B-5442-A240-AADE-804E1DBC62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9963" y="5337175"/>
            <a:ext cx="295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altLang="de-DE" sz="1400">
                <a:solidFill>
                  <a:srgbClr val="000000"/>
                </a:solidFill>
              </a:rPr>
              <a:t>800</a:t>
            </a:r>
            <a:endParaRPr lang="de-DE" altLang="de-DE" sz="1400"/>
          </a:p>
        </p:txBody>
      </p:sp>
      <p:sp>
        <p:nvSpPr>
          <p:cNvPr id="30769" name="Rectangle 49">
            <a:extLst>
              <a:ext uri="{FF2B5EF4-FFF2-40B4-BE49-F238E27FC236}">
                <a16:creationId xmlns:a16="http://schemas.microsoft.com/office/drawing/2014/main" id="{918D1501-94ED-1446-9B37-35722579CD7C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45257" y="3413919"/>
            <a:ext cx="155733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altLang="de-DE" sz="1400">
                <a:solidFill>
                  <a:srgbClr val="000000"/>
                </a:solidFill>
              </a:rPr>
              <a:t>Angaben in Prozent</a:t>
            </a:r>
            <a:endParaRPr lang="de-DE" altLang="de-DE" sz="1400"/>
          </a:p>
        </p:txBody>
      </p:sp>
      <p:grpSp>
        <p:nvGrpSpPr>
          <p:cNvPr id="30770" name="Group 50">
            <a:extLst>
              <a:ext uri="{FF2B5EF4-FFF2-40B4-BE49-F238E27FC236}">
                <a16:creationId xmlns:a16="http://schemas.microsoft.com/office/drawing/2014/main" id="{F2C88FB2-B57E-E14D-9811-67CB470FCD73}"/>
              </a:ext>
            </a:extLst>
          </p:cNvPr>
          <p:cNvGrpSpPr>
            <a:grpSpLocks/>
          </p:cNvGrpSpPr>
          <p:nvPr/>
        </p:nvGrpSpPr>
        <p:grpSpPr bwMode="auto">
          <a:xfrm>
            <a:off x="3930650" y="2373313"/>
            <a:ext cx="896938" cy="266700"/>
            <a:chOff x="2534" y="1074"/>
            <a:chExt cx="771" cy="202"/>
          </a:xfrm>
        </p:grpSpPr>
        <p:sp>
          <p:nvSpPr>
            <p:cNvPr id="30771" name="Freeform 51">
              <a:extLst>
                <a:ext uri="{FF2B5EF4-FFF2-40B4-BE49-F238E27FC236}">
                  <a16:creationId xmlns:a16="http://schemas.microsoft.com/office/drawing/2014/main" id="{7D9AE6EC-F4E9-7040-BDE5-459F25DCA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" y="1196"/>
              <a:ext cx="87" cy="80"/>
            </a:xfrm>
            <a:custGeom>
              <a:avLst/>
              <a:gdLst>
                <a:gd name="T0" fmla="*/ 0 w 87"/>
                <a:gd name="T1" fmla="*/ 80 h 80"/>
                <a:gd name="T2" fmla="*/ 44 w 87"/>
                <a:gd name="T3" fmla="*/ 37 h 80"/>
                <a:gd name="T4" fmla="*/ 87 w 87"/>
                <a:gd name="T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80">
                  <a:moveTo>
                    <a:pt x="0" y="80"/>
                  </a:moveTo>
                  <a:lnTo>
                    <a:pt x="44" y="37"/>
                  </a:lnTo>
                  <a:lnTo>
                    <a:pt x="87" y="0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772" name="Freeform 52">
              <a:extLst>
                <a:ext uri="{FF2B5EF4-FFF2-40B4-BE49-F238E27FC236}">
                  <a16:creationId xmlns:a16="http://schemas.microsoft.com/office/drawing/2014/main" id="{BA728FF9-33E9-BE4B-95BC-4E89667C2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1" y="1131"/>
              <a:ext cx="86" cy="65"/>
            </a:xfrm>
            <a:custGeom>
              <a:avLst/>
              <a:gdLst>
                <a:gd name="T0" fmla="*/ 0 w 86"/>
                <a:gd name="T1" fmla="*/ 65 h 65"/>
                <a:gd name="T2" fmla="*/ 43 w 86"/>
                <a:gd name="T3" fmla="*/ 29 h 65"/>
                <a:gd name="T4" fmla="*/ 86 w 86"/>
                <a:gd name="T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65">
                  <a:moveTo>
                    <a:pt x="0" y="65"/>
                  </a:moveTo>
                  <a:lnTo>
                    <a:pt x="43" y="29"/>
                  </a:lnTo>
                  <a:lnTo>
                    <a:pt x="86" y="0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773" name="Freeform 53">
              <a:extLst>
                <a:ext uri="{FF2B5EF4-FFF2-40B4-BE49-F238E27FC236}">
                  <a16:creationId xmlns:a16="http://schemas.microsoft.com/office/drawing/2014/main" id="{0B97615A-B4B6-9249-87FB-E14281ADE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7" y="1088"/>
              <a:ext cx="87" cy="43"/>
            </a:xfrm>
            <a:custGeom>
              <a:avLst/>
              <a:gdLst>
                <a:gd name="T0" fmla="*/ 0 w 87"/>
                <a:gd name="T1" fmla="*/ 43 h 43"/>
                <a:gd name="T2" fmla="*/ 43 w 87"/>
                <a:gd name="T3" fmla="*/ 22 h 43"/>
                <a:gd name="T4" fmla="*/ 87 w 87"/>
                <a:gd name="T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43">
                  <a:moveTo>
                    <a:pt x="0" y="43"/>
                  </a:moveTo>
                  <a:lnTo>
                    <a:pt x="43" y="22"/>
                  </a:lnTo>
                  <a:lnTo>
                    <a:pt x="87" y="0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774" name="Freeform 54">
              <a:extLst>
                <a:ext uri="{FF2B5EF4-FFF2-40B4-BE49-F238E27FC236}">
                  <a16:creationId xmlns:a16="http://schemas.microsoft.com/office/drawing/2014/main" id="{6192619A-AC58-D140-90B9-CD49C0734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" y="1074"/>
              <a:ext cx="86" cy="14"/>
            </a:xfrm>
            <a:custGeom>
              <a:avLst/>
              <a:gdLst>
                <a:gd name="T0" fmla="*/ 0 w 86"/>
                <a:gd name="T1" fmla="*/ 14 h 14"/>
                <a:gd name="T2" fmla="*/ 43 w 86"/>
                <a:gd name="T3" fmla="*/ 7 h 14"/>
                <a:gd name="T4" fmla="*/ 86 w 86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14">
                  <a:moveTo>
                    <a:pt x="0" y="14"/>
                  </a:moveTo>
                  <a:lnTo>
                    <a:pt x="43" y="7"/>
                  </a:lnTo>
                  <a:lnTo>
                    <a:pt x="86" y="0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775" name="Line 55">
              <a:extLst>
                <a:ext uri="{FF2B5EF4-FFF2-40B4-BE49-F238E27FC236}">
                  <a16:creationId xmlns:a16="http://schemas.microsoft.com/office/drawing/2014/main" id="{2BCA081A-9D63-114C-A033-ABB9555458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0" y="1074"/>
              <a:ext cx="86" cy="1"/>
            </a:xfrm>
            <a:prstGeom prst="line">
              <a:avLst/>
            </a:prstGeom>
            <a:noFill/>
            <a:ln w="11113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776" name="Freeform 56">
              <a:extLst>
                <a:ext uri="{FF2B5EF4-FFF2-40B4-BE49-F238E27FC236}">
                  <a16:creationId xmlns:a16="http://schemas.microsoft.com/office/drawing/2014/main" id="{CAAEF57D-FA6E-034C-B8C5-5FEC3D23C5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6" y="1074"/>
              <a:ext cx="80" cy="14"/>
            </a:xfrm>
            <a:custGeom>
              <a:avLst/>
              <a:gdLst>
                <a:gd name="T0" fmla="*/ 0 w 80"/>
                <a:gd name="T1" fmla="*/ 0 h 14"/>
                <a:gd name="T2" fmla="*/ 36 w 80"/>
                <a:gd name="T3" fmla="*/ 7 h 14"/>
                <a:gd name="T4" fmla="*/ 80 w 80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0" h="14">
                  <a:moveTo>
                    <a:pt x="0" y="0"/>
                  </a:moveTo>
                  <a:lnTo>
                    <a:pt x="36" y="7"/>
                  </a:lnTo>
                  <a:lnTo>
                    <a:pt x="80" y="14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777" name="Freeform 57">
              <a:extLst>
                <a:ext uri="{FF2B5EF4-FFF2-40B4-BE49-F238E27FC236}">
                  <a16:creationId xmlns:a16="http://schemas.microsoft.com/office/drawing/2014/main" id="{05D98B97-2945-8542-B136-D1E971BCD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6" y="1088"/>
              <a:ext cx="86" cy="43"/>
            </a:xfrm>
            <a:custGeom>
              <a:avLst/>
              <a:gdLst>
                <a:gd name="T0" fmla="*/ 0 w 86"/>
                <a:gd name="T1" fmla="*/ 0 h 43"/>
                <a:gd name="T2" fmla="*/ 43 w 86"/>
                <a:gd name="T3" fmla="*/ 22 h 43"/>
                <a:gd name="T4" fmla="*/ 86 w 86"/>
                <a:gd name="T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43">
                  <a:moveTo>
                    <a:pt x="0" y="0"/>
                  </a:moveTo>
                  <a:lnTo>
                    <a:pt x="43" y="22"/>
                  </a:lnTo>
                  <a:lnTo>
                    <a:pt x="86" y="43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778" name="Freeform 58">
              <a:extLst>
                <a:ext uri="{FF2B5EF4-FFF2-40B4-BE49-F238E27FC236}">
                  <a16:creationId xmlns:a16="http://schemas.microsoft.com/office/drawing/2014/main" id="{538D96BE-BCD6-4147-8931-4DE805686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" y="1131"/>
              <a:ext cx="86" cy="65"/>
            </a:xfrm>
            <a:custGeom>
              <a:avLst/>
              <a:gdLst>
                <a:gd name="T0" fmla="*/ 0 w 86"/>
                <a:gd name="T1" fmla="*/ 0 h 65"/>
                <a:gd name="T2" fmla="*/ 43 w 86"/>
                <a:gd name="T3" fmla="*/ 29 h 65"/>
                <a:gd name="T4" fmla="*/ 86 w 86"/>
                <a:gd name="T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65">
                  <a:moveTo>
                    <a:pt x="0" y="0"/>
                  </a:moveTo>
                  <a:lnTo>
                    <a:pt x="43" y="29"/>
                  </a:lnTo>
                  <a:lnTo>
                    <a:pt x="86" y="65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779" name="Freeform 59">
              <a:extLst>
                <a:ext uri="{FF2B5EF4-FFF2-40B4-BE49-F238E27FC236}">
                  <a16:creationId xmlns:a16="http://schemas.microsoft.com/office/drawing/2014/main" id="{32D3411C-29A6-3044-B115-D2A03C584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8" y="1196"/>
              <a:ext cx="87" cy="80"/>
            </a:xfrm>
            <a:custGeom>
              <a:avLst/>
              <a:gdLst>
                <a:gd name="T0" fmla="*/ 0 w 87"/>
                <a:gd name="T1" fmla="*/ 0 h 80"/>
                <a:gd name="T2" fmla="*/ 44 w 87"/>
                <a:gd name="T3" fmla="*/ 37 h 80"/>
                <a:gd name="T4" fmla="*/ 87 w 87"/>
                <a:gd name="T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80">
                  <a:moveTo>
                    <a:pt x="0" y="0"/>
                  </a:moveTo>
                  <a:lnTo>
                    <a:pt x="44" y="37"/>
                  </a:lnTo>
                  <a:lnTo>
                    <a:pt x="87" y="80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30780" name="Group 60">
            <a:extLst>
              <a:ext uri="{FF2B5EF4-FFF2-40B4-BE49-F238E27FC236}">
                <a16:creationId xmlns:a16="http://schemas.microsoft.com/office/drawing/2014/main" id="{CE1508CA-07A1-2544-9410-8A9B02DAE42A}"/>
              </a:ext>
            </a:extLst>
          </p:cNvPr>
          <p:cNvGrpSpPr>
            <a:grpSpLocks/>
          </p:cNvGrpSpPr>
          <p:nvPr/>
        </p:nvGrpSpPr>
        <p:grpSpPr bwMode="auto">
          <a:xfrm>
            <a:off x="1343025" y="2640013"/>
            <a:ext cx="2587625" cy="2554287"/>
            <a:chOff x="310" y="1276"/>
            <a:chExt cx="2225" cy="1934"/>
          </a:xfrm>
        </p:grpSpPr>
        <p:sp>
          <p:nvSpPr>
            <p:cNvPr id="30781" name="Line 61">
              <a:extLst>
                <a:ext uri="{FF2B5EF4-FFF2-40B4-BE49-F238E27FC236}">
                  <a16:creationId xmlns:a16="http://schemas.microsoft.com/office/drawing/2014/main" id="{290EA8F9-1CA1-534A-A2A4-7678DB1A9D1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10" y="3181"/>
              <a:ext cx="86" cy="8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82" name="Line 62">
              <a:extLst>
                <a:ext uri="{FF2B5EF4-FFF2-40B4-BE49-F238E27FC236}">
                  <a16:creationId xmlns:a16="http://schemas.microsoft.com/office/drawing/2014/main" id="{3A1E5601-5973-ED49-9C1B-7D187FC45FF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6" y="3174"/>
              <a:ext cx="86" cy="7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83" name="Line 63">
              <a:extLst>
                <a:ext uri="{FF2B5EF4-FFF2-40B4-BE49-F238E27FC236}">
                  <a16:creationId xmlns:a16="http://schemas.microsoft.com/office/drawing/2014/main" id="{77E82956-0173-A744-8F31-839AFC9D545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2" y="3160"/>
              <a:ext cx="87" cy="14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84" name="Line 64">
              <a:extLst>
                <a:ext uri="{FF2B5EF4-FFF2-40B4-BE49-F238E27FC236}">
                  <a16:creationId xmlns:a16="http://schemas.microsoft.com/office/drawing/2014/main" id="{59F3FF01-1DD1-FF4C-B092-D13F6F1976A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69" y="3145"/>
              <a:ext cx="86" cy="15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85" name="Line 65">
              <a:extLst>
                <a:ext uri="{FF2B5EF4-FFF2-40B4-BE49-F238E27FC236}">
                  <a16:creationId xmlns:a16="http://schemas.microsoft.com/office/drawing/2014/main" id="{2E14B1A8-BC07-294D-8F68-91AA66E8754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55" y="3124"/>
              <a:ext cx="87" cy="21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86" name="Line 66">
              <a:extLst>
                <a:ext uri="{FF2B5EF4-FFF2-40B4-BE49-F238E27FC236}">
                  <a16:creationId xmlns:a16="http://schemas.microsoft.com/office/drawing/2014/main" id="{343DD890-6A07-F443-A67B-1E9D15DF6E1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42" y="3102"/>
              <a:ext cx="86" cy="22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87" name="Line 67">
              <a:extLst>
                <a:ext uri="{FF2B5EF4-FFF2-40B4-BE49-F238E27FC236}">
                  <a16:creationId xmlns:a16="http://schemas.microsoft.com/office/drawing/2014/main" id="{03137A31-50B3-344F-95D4-F010D67F148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28" y="3073"/>
              <a:ext cx="79" cy="29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88" name="Line 68">
              <a:extLst>
                <a:ext uri="{FF2B5EF4-FFF2-40B4-BE49-F238E27FC236}">
                  <a16:creationId xmlns:a16="http://schemas.microsoft.com/office/drawing/2014/main" id="{9A4FC43D-999F-6F47-A744-9A91A80419D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07" y="3037"/>
              <a:ext cx="87" cy="36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89" name="Freeform 69">
              <a:extLst>
                <a:ext uri="{FF2B5EF4-FFF2-40B4-BE49-F238E27FC236}">
                  <a16:creationId xmlns:a16="http://schemas.microsoft.com/office/drawing/2014/main" id="{96BC1A61-43C3-4942-87A3-302FF08931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" y="3001"/>
              <a:ext cx="86" cy="36"/>
            </a:xfrm>
            <a:custGeom>
              <a:avLst/>
              <a:gdLst>
                <a:gd name="T0" fmla="*/ 0 w 86"/>
                <a:gd name="T1" fmla="*/ 36 h 36"/>
                <a:gd name="T2" fmla="*/ 43 w 86"/>
                <a:gd name="T3" fmla="*/ 22 h 36"/>
                <a:gd name="T4" fmla="*/ 86 w 86"/>
                <a:gd name="T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6">
                  <a:moveTo>
                    <a:pt x="0" y="36"/>
                  </a:moveTo>
                  <a:lnTo>
                    <a:pt x="43" y="22"/>
                  </a:lnTo>
                  <a:lnTo>
                    <a:pt x="86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90" name="Line 70">
              <a:extLst>
                <a:ext uri="{FF2B5EF4-FFF2-40B4-BE49-F238E27FC236}">
                  <a16:creationId xmlns:a16="http://schemas.microsoft.com/office/drawing/2014/main" id="{B3C3BBD6-7135-6A4A-9CCA-865D8B578AD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80" y="2950"/>
              <a:ext cx="86" cy="51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91" name="Line 71">
              <a:extLst>
                <a:ext uri="{FF2B5EF4-FFF2-40B4-BE49-F238E27FC236}">
                  <a16:creationId xmlns:a16="http://schemas.microsoft.com/office/drawing/2014/main" id="{7306A7A9-EEE1-3B44-B2B7-8AB9CF8EAA0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66" y="2893"/>
              <a:ext cx="87" cy="57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92" name="Freeform 72">
              <a:extLst>
                <a:ext uri="{FF2B5EF4-FFF2-40B4-BE49-F238E27FC236}">
                  <a16:creationId xmlns:a16="http://schemas.microsoft.com/office/drawing/2014/main" id="{718101AD-4E60-6D4C-970F-A083E5273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3" y="2820"/>
              <a:ext cx="86" cy="73"/>
            </a:xfrm>
            <a:custGeom>
              <a:avLst/>
              <a:gdLst>
                <a:gd name="T0" fmla="*/ 0 w 86"/>
                <a:gd name="T1" fmla="*/ 73 h 73"/>
                <a:gd name="T2" fmla="*/ 43 w 86"/>
                <a:gd name="T3" fmla="*/ 36 h 73"/>
                <a:gd name="T4" fmla="*/ 86 w 86"/>
                <a:gd name="T5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73">
                  <a:moveTo>
                    <a:pt x="0" y="73"/>
                  </a:moveTo>
                  <a:lnTo>
                    <a:pt x="43" y="36"/>
                  </a:lnTo>
                  <a:lnTo>
                    <a:pt x="86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93" name="Freeform 73">
              <a:extLst>
                <a:ext uri="{FF2B5EF4-FFF2-40B4-BE49-F238E27FC236}">
                  <a16:creationId xmlns:a16="http://schemas.microsoft.com/office/drawing/2014/main" id="{F0189A72-B35B-A848-B014-0DBD4CF2C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9" y="2748"/>
              <a:ext cx="87" cy="72"/>
            </a:xfrm>
            <a:custGeom>
              <a:avLst/>
              <a:gdLst>
                <a:gd name="T0" fmla="*/ 0 w 87"/>
                <a:gd name="T1" fmla="*/ 72 h 72"/>
                <a:gd name="T2" fmla="*/ 43 w 87"/>
                <a:gd name="T3" fmla="*/ 36 h 72"/>
                <a:gd name="T4" fmla="*/ 87 w 87"/>
                <a:gd name="T5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72">
                  <a:moveTo>
                    <a:pt x="0" y="72"/>
                  </a:moveTo>
                  <a:lnTo>
                    <a:pt x="43" y="36"/>
                  </a:lnTo>
                  <a:lnTo>
                    <a:pt x="87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94" name="Freeform 74">
              <a:extLst>
                <a:ext uri="{FF2B5EF4-FFF2-40B4-BE49-F238E27FC236}">
                  <a16:creationId xmlns:a16="http://schemas.microsoft.com/office/drawing/2014/main" id="{F7794C48-AAC8-0844-AC21-F6801BF4A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6" y="2662"/>
              <a:ext cx="86" cy="86"/>
            </a:xfrm>
            <a:custGeom>
              <a:avLst/>
              <a:gdLst>
                <a:gd name="T0" fmla="*/ 0 w 86"/>
                <a:gd name="T1" fmla="*/ 86 h 86"/>
                <a:gd name="T2" fmla="*/ 43 w 86"/>
                <a:gd name="T3" fmla="*/ 43 h 86"/>
                <a:gd name="T4" fmla="*/ 86 w 86"/>
                <a:gd name="T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86">
                  <a:moveTo>
                    <a:pt x="0" y="86"/>
                  </a:moveTo>
                  <a:lnTo>
                    <a:pt x="43" y="43"/>
                  </a:lnTo>
                  <a:lnTo>
                    <a:pt x="86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95" name="Line 75">
              <a:extLst>
                <a:ext uri="{FF2B5EF4-FFF2-40B4-BE49-F238E27FC236}">
                  <a16:creationId xmlns:a16="http://schemas.microsoft.com/office/drawing/2014/main" id="{24C52975-3E3E-8342-8559-1B218EA895E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12" y="2568"/>
              <a:ext cx="79" cy="94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96" name="Freeform 76">
              <a:extLst>
                <a:ext uri="{FF2B5EF4-FFF2-40B4-BE49-F238E27FC236}">
                  <a16:creationId xmlns:a16="http://schemas.microsoft.com/office/drawing/2014/main" id="{7FF7379B-88CF-1A41-8911-21A313004D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1" y="2460"/>
              <a:ext cx="87" cy="108"/>
            </a:xfrm>
            <a:custGeom>
              <a:avLst/>
              <a:gdLst>
                <a:gd name="T0" fmla="*/ 0 w 87"/>
                <a:gd name="T1" fmla="*/ 108 h 108"/>
                <a:gd name="T2" fmla="*/ 43 w 87"/>
                <a:gd name="T3" fmla="*/ 57 h 108"/>
                <a:gd name="T4" fmla="*/ 87 w 87"/>
                <a:gd name="T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108">
                  <a:moveTo>
                    <a:pt x="0" y="108"/>
                  </a:moveTo>
                  <a:lnTo>
                    <a:pt x="43" y="57"/>
                  </a:lnTo>
                  <a:lnTo>
                    <a:pt x="87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97" name="Freeform 77">
              <a:extLst>
                <a:ext uri="{FF2B5EF4-FFF2-40B4-BE49-F238E27FC236}">
                  <a16:creationId xmlns:a16="http://schemas.microsoft.com/office/drawing/2014/main" id="{32EDE6EF-7EE5-2545-B6AC-EEB3C6DD50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2351"/>
              <a:ext cx="86" cy="109"/>
            </a:xfrm>
            <a:custGeom>
              <a:avLst/>
              <a:gdLst>
                <a:gd name="T0" fmla="*/ 0 w 86"/>
                <a:gd name="T1" fmla="*/ 109 h 109"/>
                <a:gd name="T2" fmla="*/ 43 w 86"/>
                <a:gd name="T3" fmla="*/ 58 h 109"/>
                <a:gd name="T4" fmla="*/ 86 w 86"/>
                <a:gd name="T5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109">
                  <a:moveTo>
                    <a:pt x="0" y="109"/>
                  </a:moveTo>
                  <a:lnTo>
                    <a:pt x="43" y="58"/>
                  </a:lnTo>
                  <a:lnTo>
                    <a:pt x="86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98" name="Freeform 78">
              <a:extLst>
                <a:ext uri="{FF2B5EF4-FFF2-40B4-BE49-F238E27FC236}">
                  <a16:creationId xmlns:a16="http://schemas.microsoft.com/office/drawing/2014/main" id="{68522A99-7B9B-324E-94B9-065901A29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4" y="2229"/>
              <a:ext cx="86" cy="122"/>
            </a:xfrm>
            <a:custGeom>
              <a:avLst/>
              <a:gdLst>
                <a:gd name="T0" fmla="*/ 0 w 86"/>
                <a:gd name="T1" fmla="*/ 122 h 122"/>
                <a:gd name="T2" fmla="*/ 43 w 86"/>
                <a:gd name="T3" fmla="*/ 65 h 122"/>
                <a:gd name="T4" fmla="*/ 86 w 86"/>
                <a:gd name="T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122">
                  <a:moveTo>
                    <a:pt x="0" y="122"/>
                  </a:moveTo>
                  <a:lnTo>
                    <a:pt x="43" y="65"/>
                  </a:lnTo>
                  <a:lnTo>
                    <a:pt x="86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99" name="Line 79">
              <a:extLst>
                <a:ext uri="{FF2B5EF4-FFF2-40B4-BE49-F238E27FC236}">
                  <a16:creationId xmlns:a16="http://schemas.microsoft.com/office/drawing/2014/main" id="{1762E7D6-C00B-5843-9947-218CB06388A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850" y="2106"/>
              <a:ext cx="87" cy="123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00" name="Line 80">
              <a:extLst>
                <a:ext uri="{FF2B5EF4-FFF2-40B4-BE49-F238E27FC236}">
                  <a16:creationId xmlns:a16="http://schemas.microsoft.com/office/drawing/2014/main" id="{BC97EB83-B4D8-124F-BC73-5209134553B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37" y="1976"/>
              <a:ext cx="86" cy="130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01" name="Line 81">
              <a:extLst>
                <a:ext uri="{FF2B5EF4-FFF2-40B4-BE49-F238E27FC236}">
                  <a16:creationId xmlns:a16="http://schemas.microsoft.com/office/drawing/2014/main" id="{B6A31D4A-CBB7-114A-B427-7EA000B3056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023" y="1846"/>
              <a:ext cx="87" cy="130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02" name="Line 82">
              <a:extLst>
                <a:ext uri="{FF2B5EF4-FFF2-40B4-BE49-F238E27FC236}">
                  <a16:creationId xmlns:a16="http://schemas.microsoft.com/office/drawing/2014/main" id="{C3F83757-0728-7E46-AAFB-12B9C1E2034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10" y="1716"/>
              <a:ext cx="86" cy="130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03" name="Line 83">
              <a:extLst>
                <a:ext uri="{FF2B5EF4-FFF2-40B4-BE49-F238E27FC236}">
                  <a16:creationId xmlns:a16="http://schemas.microsoft.com/office/drawing/2014/main" id="{F7FF9712-5650-FF4E-BF93-4CBBDDF1537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96" y="1593"/>
              <a:ext cx="79" cy="123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04" name="Line 84">
              <a:extLst>
                <a:ext uri="{FF2B5EF4-FFF2-40B4-BE49-F238E27FC236}">
                  <a16:creationId xmlns:a16="http://schemas.microsoft.com/office/drawing/2014/main" id="{FD220B3E-CC00-D44B-917F-7C147BB37E2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75" y="1478"/>
              <a:ext cx="87" cy="115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05" name="Freeform 85">
              <a:extLst>
                <a:ext uri="{FF2B5EF4-FFF2-40B4-BE49-F238E27FC236}">
                  <a16:creationId xmlns:a16="http://schemas.microsoft.com/office/drawing/2014/main" id="{AE117F07-0CC0-F34F-9F89-48AE1B47B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2" y="1370"/>
              <a:ext cx="86" cy="108"/>
            </a:xfrm>
            <a:custGeom>
              <a:avLst/>
              <a:gdLst>
                <a:gd name="T0" fmla="*/ 0 w 86"/>
                <a:gd name="T1" fmla="*/ 108 h 108"/>
                <a:gd name="T2" fmla="*/ 43 w 86"/>
                <a:gd name="T3" fmla="*/ 50 h 108"/>
                <a:gd name="T4" fmla="*/ 86 w 86"/>
                <a:gd name="T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108">
                  <a:moveTo>
                    <a:pt x="0" y="108"/>
                  </a:moveTo>
                  <a:lnTo>
                    <a:pt x="43" y="50"/>
                  </a:lnTo>
                  <a:lnTo>
                    <a:pt x="86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06" name="Freeform 86">
              <a:extLst>
                <a:ext uri="{FF2B5EF4-FFF2-40B4-BE49-F238E27FC236}">
                  <a16:creationId xmlns:a16="http://schemas.microsoft.com/office/drawing/2014/main" id="{B2231D66-59F4-D34C-BFAD-6CD0C2FD1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8" y="1276"/>
              <a:ext cx="86" cy="94"/>
            </a:xfrm>
            <a:custGeom>
              <a:avLst/>
              <a:gdLst>
                <a:gd name="T0" fmla="*/ 0 w 86"/>
                <a:gd name="T1" fmla="*/ 94 h 94"/>
                <a:gd name="T2" fmla="*/ 43 w 86"/>
                <a:gd name="T3" fmla="*/ 43 h 94"/>
                <a:gd name="T4" fmla="*/ 86 w 86"/>
                <a:gd name="T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94">
                  <a:moveTo>
                    <a:pt x="0" y="94"/>
                  </a:moveTo>
                  <a:lnTo>
                    <a:pt x="43" y="43"/>
                  </a:lnTo>
                  <a:lnTo>
                    <a:pt x="86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07" name="Line 87">
              <a:extLst>
                <a:ext uri="{FF2B5EF4-FFF2-40B4-BE49-F238E27FC236}">
                  <a16:creationId xmlns:a16="http://schemas.microsoft.com/office/drawing/2014/main" id="{547BAC92-2E07-DF49-BE02-B72F16F7A42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534" y="1276"/>
              <a:ext cx="1" cy="1934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30808" name="Group 88">
            <a:extLst>
              <a:ext uri="{FF2B5EF4-FFF2-40B4-BE49-F238E27FC236}">
                <a16:creationId xmlns:a16="http://schemas.microsoft.com/office/drawing/2014/main" id="{A142122A-2CEB-BB4E-AC15-EB94FC706B1B}"/>
              </a:ext>
            </a:extLst>
          </p:cNvPr>
          <p:cNvGrpSpPr>
            <a:grpSpLocks/>
          </p:cNvGrpSpPr>
          <p:nvPr/>
        </p:nvGrpSpPr>
        <p:grpSpPr bwMode="auto">
          <a:xfrm>
            <a:off x="4827588" y="2640013"/>
            <a:ext cx="2589212" cy="2554287"/>
            <a:chOff x="3305" y="1276"/>
            <a:chExt cx="2225" cy="1934"/>
          </a:xfrm>
        </p:grpSpPr>
        <p:sp>
          <p:nvSpPr>
            <p:cNvPr id="30809" name="Freeform 89">
              <a:extLst>
                <a:ext uri="{FF2B5EF4-FFF2-40B4-BE49-F238E27FC236}">
                  <a16:creationId xmlns:a16="http://schemas.microsoft.com/office/drawing/2014/main" id="{BC5C94F9-1316-2F48-A39B-33D49AFF1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" y="1276"/>
              <a:ext cx="86" cy="94"/>
            </a:xfrm>
            <a:custGeom>
              <a:avLst/>
              <a:gdLst>
                <a:gd name="T0" fmla="*/ 0 w 86"/>
                <a:gd name="T1" fmla="*/ 0 h 94"/>
                <a:gd name="T2" fmla="*/ 43 w 86"/>
                <a:gd name="T3" fmla="*/ 43 h 94"/>
                <a:gd name="T4" fmla="*/ 86 w 86"/>
                <a:gd name="T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94">
                  <a:moveTo>
                    <a:pt x="0" y="0"/>
                  </a:moveTo>
                  <a:lnTo>
                    <a:pt x="43" y="43"/>
                  </a:lnTo>
                  <a:lnTo>
                    <a:pt x="86" y="94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10" name="Freeform 90">
              <a:extLst>
                <a:ext uri="{FF2B5EF4-FFF2-40B4-BE49-F238E27FC236}">
                  <a16:creationId xmlns:a16="http://schemas.microsoft.com/office/drawing/2014/main" id="{B4E6F0A3-0A9D-4244-A87F-E5CE0EB80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1" y="1370"/>
              <a:ext cx="87" cy="108"/>
            </a:xfrm>
            <a:custGeom>
              <a:avLst/>
              <a:gdLst>
                <a:gd name="T0" fmla="*/ 0 w 87"/>
                <a:gd name="T1" fmla="*/ 0 h 108"/>
                <a:gd name="T2" fmla="*/ 43 w 87"/>
                <a:gd name="T3" fmla="*/ 50 h 108"/>
                <a:gd name="T4" fmla="*/ 87 w 87"/>
                <a:gd name="T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108">
                  <a:moveTo>
                    <a:pt x="0" y="0"/>
                  </a:moveTo>
                  <a:lnTo>
                    <a:pt x="43" y="50"/>
                  </a:lnTo>
                  <a:lnTo>
                    <a:pt x="87" y="108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11" name="Line 91">
              <a:extLst>
                <a:ext uri="{FF2B5EF4-FFF2-40B4-BE49-F238E27FC236}">
                  <a16:creationId xmlns:a16="http://schemas.microsoft.com/office/drawing/2014/main" id="{3677B169-2CA1-5348-8929-52D2B56828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78" y="1478"/>
              <a:ext cx="86" cy="115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12" name="Line 92">
              <a:extLst>
                <a:ext uri="{FF2B5EF4-FFF2-40B4-BE49-F238E27FC236}">
                  <a16:creationId xmlns:a16="http://schemas.microsoft.com/office/drawing/2014/main" id="{BD89CEC3-EDB7-BE4A-A313-191968D709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4" y="1593"/>
              <a:ext cx="86" cy="123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13" name="Line 93">
              <a:extLst>
                <a:ext uri="{FF2B5EF4-FFF2-40B4-BE49-F238E27FC236}">
                  <a16:creationId xmlns:a16="http://schemas.microsoft.com/office/drawing/2014/main" id="{5DE9F91B-459B-7646-B867-1EA737F1AD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0" y="1716"/>
              <a:ext cx="80" cy="130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14" name="Line 94">
              <a:extLst>
                <a:ext uri="{FF2B5EF4-FFF2-40B4-BE49-F238E27FC236}">
                  <a16:creationId xmlns:a16="http://schemas.microsoft.com/office/drawing/2014/main" id="{33EBA6AB-5A05-184F-945D-17153C53BF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0" y="1846"/>
              <a:ext cx="86" cy="130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15" name="Line 95">
              <a:extLst>
                <a:ext uri="{FF2B5EF4-FFF2-40B4-BE49-F238E27FC236}">
                  <a16:creationId xmlns:a16="http://schemas.microsoft.com/office/drawing/2014/main" id="{D725F554-2517-A34E-B424-23B4E35F03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6" y="1976"/>
              <a:ext cx="86" cy="130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16" name="Line 96">
              <a:extLst>
                <a:ext uri="{FF2B5EF4-FFF2-40B4-BE49-F238E27FC236}">
                  <a16:creationId xmlns:a16="http://schemas.microsoft.com/office/drawing/2014/main" id="{5EFC8ECB-17DD-BC4B-A3DE-36846575A2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02" y="2106"/>
              <a:ext cx="87" cy="123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17" name="Freeform 97">
              <a:extLst>
                <a:ext uri="{FF2B5EF4-FFF2-40B4-BE49-F238E27FC236}">
                  <a16:creationId xmlns:a16="http://schemas.microsoft.com/office/drawing/2014/main" id="{B80602F3-860B-5445-A438-81D4308E90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2229"/>
              <a:ext cx="86" cy="122"/>
            </a:xfrm>
            <a:custGeom>
              <a:avLst/>
              <a:gdLst>
                <a:gd name="T0" fmla="*/ 0 w 86"/>
                <a:gd name="T1" fmla="*/ 0 h 122"/>
                <a:gd name="T2" fmla="*/ 43 w 86"/>
                <a:gd name="T3" fmla="*/ 65 h 122"/>
                <a:gd name="T4" fmla="*/ 86 w 86"/>
                <a:gd name="T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122">
                  <a:moveTo>
                    <a:pt x="0" y="0"/>
                  </a:moveTo>
                  <a:lnTo>
                    <a:pt x="43" y="65"/>
                  </a:lnTo>
                  <a:lnTo>
                    <a:pt x="86" y="122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18" name="Freeform 98">
              <a:extLst>
                <a:ext uri="{FF2B5EF4-FFF2-40B4-BE49-F238E27FC236}">
                  <a16:creationId xmlns:a16="http://schemas.microsoft.com/office/drawing/2014/main" id="{F4F351CD-6B7E-6749-9B3F-089CFDCC3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5" y="2351"/>
              <a:ext cx="87" cy="109"/>
            </a:xfrm>
            <a:custGeom>
              <a:avLst/>
              <a:gdLst>
                <a:gd name="T0" fmla="*/ 0 w 87"/>
                <a:gd name="T1" fmla="*/ 0 h 109"/>
                <a:gd name="T2" fmla="*/ 43 w 87"/>
                <a:gd name="T3" fmla="*/ 58 h 109"/>
                <a:gd name="T4" fmla="*/ 87 w 87"/>
                <a:gd name="T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109">
                  <a:moveTo>
                    <a:pt x="0" y="0"/>
                  </a:moveTo>
                  <a:lnTo>
                    <a:pt x="43" y="58"/>
                  </a:lnTo>
                  <a:lnTo>
                    <a:pt x="87" y="109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19" name="Freeform 99">
              <a:extLst>
                <a:ext uri="{FF2B5EF4-FFF2-40B4-BE49-F238E27FC236}">
                  <a16:creationId xmlns:a16="http://schemas.microsoft.com/office/drawing/2014/main" id="{6993EE7C-33A0-8B4B-B6FC-CC67886740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2" y="2460"/>
              <a:ext cx="86" cy="108"/>
            </a:xfrm>
            <a:custGeom>
              <a:avLst/>
              <a:gdLst>
                <a:gd name="T0" fmla="*/ 0 w 86"/>
                <a:gd name="T1" fmla="*/ 0 h 108"/>
                <a:gd name="T2" fmla="*/ 43 w 86"/>
                <a:gd name="T3" fmla="*/ 57 h 108"/>
                <a:gd name="T4" fmla="*/ 86 w 86"/>
                <a:gd name="T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108">
                  <a:moveTo>
                    <a:pt x="0" y="0"/>
                  </a:moveTo>
                  <a:lnTo>
                    <a:pt x="43" y="57"/>
                  </a:lnTo>
                  <a:lnTo>
                    <a:pt x="86" y="108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20" name="Line 100">
              <a:extLst>
                <a:ext uri="{FF2B5EF4-FFF2-40B4-BE49-F238E27FC236}">
                  <a16:creationId xmlns:a16="http://schemas.microsoft.com/office/drawing/2014/main" id="{237C9E17-0D44-034A-995F-4DE145E539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48" y="2568"/>
              <a:ext cx="86" cy="94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21" name="Freeform 101">
              <a:extLst>
                <a:ext uri="{FF2B5EF4-FFF2-40B4-BE49-F238E27FC236}">
                  <a16:creationId xmlns:a16="http://schemas.microsoft.com/office/drawing/2014/main" id="{E2D57450-77B7-894A-9F51-ABE8B22C0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2662"/>
              <a:ext cx="80" cy="86"/>
            </a:xfrm>
            <a:custGeom>
              <a:avLst/>
              <a:gdLst>
                <a:gd name="T0" fmla="*/ 0 w 80"/>
                <a:gd name="T1" fmla="*/ 0 h 86"/>
                <a:gd name="T2" fmla="*/ 36 w 80"/>
                <a:gd name="T3" fmla="*/ 43 h 86"/>
                <a:gd name="T4" fmla="*/ 80 w 80"/>
                <a:gd name="T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0" h="86">
                  <a:moveTo>
                    <a:pt x="0" y="0"/>
                  </a:moveTo>
                  <a:lnTo>
                    <a:pt x="36" y="43"/>
                  </a:lnTo>
                  <a:lnTo>
                    <a:pt x="80" y="86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22" name="Freeform 102">
              <a:extLst>
                <a:ext uri="{FF2B5EF4-FFF2-40B4-BE49-F238E27FC236}">
                  <a16:creationId xmlns:a16="http://schemas.microsoft.com/office/drawing/2014/main" id="{9E7B7521-B1AA-C84D-8D57-5E95616E2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4" y="2748"/>
              <a:ext cx="86" cy="72"/>
            </a:xfrm>
            <a:custGeom>
              <a:avLst/>
              <a:gdLst>
                <a:gd name="T0" fmla="*/ 0 w 86"/>
                <a:gd name="T1" fmla="*/ 0 h 72"/>
                <a:gd name="T2" fmla="*/ 43 w 86"/>
                <a:gd name="T3" fmla="*/ 36 h 72"/>
                <a:gd name="T4" fmla="*/ 86 w 86"/>
                <a:gd name="T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72">
                  <a:moveTo>
                    <a:pt x="0" y="0"/>
                  </a:moveTo>
                  <a:lnTo>
                    <a:pt x="43" y="36"/>
                  </a:lnTo>
                  <a:lnTo>
                    <a:pt x="86" y="72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23" name="Freeform 103">
              <a:extLst>
                <a:ext uri="{FF2B5EF4-FFF2-40B4-BE49-F238E27FC236}">
                  <a16:creationId xmlns:a16="http://schemas.microsoft.com/office/drawing/2014/main" id="{0312455C-BF19-DD40-B367-A2B49CAA7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" y="2820"/>
              <a:ext cx="86" cy="73"/>
            </a:xfrm>
            <a:custGeom>
              <a:avLst/>
              <a:gdLst>
                <a:gd name="T0" fmla="*/ 0 w 86"/>
                <a:gd name="T1" fmla="*/ 0 h 73"/>
                <a:gd name="T2" fmla="*/ 43 w 86"/>
                <a:gd name="T3" fmla="*/ 36 h 73"/>
                <a:gd name="T4" fmla="*/ 86 w 86"/>
                <a:gd name="T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73">
                  <a:moveTo>
                    <a:pt x="0" y="0"/>
                  </a:moveTo>
                  <a:lnTo>
                    <a:pt x="43" y="36"/>
                  </a:lnTo>
                  <a:lnTo>
                    <a:pt x="86" y="73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24" name="Line 104">
              <a:extLst>
                <a:ext uri="{FF2B5EF4-FFF2-40B4-BE49-F238E27FC236}">
                  <a16:creationId xmlns:a16="http://schemas.microsoft.com/office/drawing/2014/main" id="{DBC88D8E-9AD0-3B44-96A1-BF910C234B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86" y="2893"/>
              <a:ext cx="87" cy="57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25" name="Line 105">
              <a:extLst>
                <a:ext uri="{FF2B5EF4-FFF2-40B4-BE49-F238E27FC236}">
                  <a16:creationId xmlns:a16="http://schemas.microsoft.com/office/drawing/2014/main" id="{4444A025-45D9-0643-8C0B-7348F55736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3" y="2950"/>
              <a:ext cx="86" cy="51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26" name="Freeform 106">
              <a:extLst>
                <a:ext uri="{FF2B5EF4-FFF2-40B4-BE49-F238E27FC236}">
                  <a16:creationId xmlns:a16="http://schemas.microsoft.com/office/drawing/2014/main" id="{C5ACB7DB-AC2D-864C-B57F-C4D44310AA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9" y="3001"/>
              <a:ext cx="87" cy="36"/>
            </a:xfrm>
            <a:custGeom>
              <a:avLst/>
              <a:gdLst>
                <a:gd name="T0" fmla="*/ 0 w 87"/>
                <a:gd name="T1" fmla="*/ 0 h 36"/>
                <a:gd name="T2" fmla="*/ 43 w 87"/>
                <a:gd name="T3" fmla="*/ 22 h 36"/>
                <a:gd name="T4" fmla="*/ 87 w 87"/>
                <a:gd name="T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36">
                  <a:moveTo>
                    <a:pt x="0" y="0"/>
                  </a:moveTo>
                  <a:lnTo>
                    <a:pt x="43" y="22"/>
                  </a:lnTo>
                  <a:lnTo>
                    <a:pt x="87" y="36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27" name="Line 107">
              <a:extLst>
                <a:ext uri="{FF2B5EF4-FFF2-40B4-BE49-F238E27FC236}">
                  <a16:creationId xmlns:a16="http://schemas.microsoft.com/office/drawing/2014/main" id="{DEC8C3C7-99DB-5F40-A9EA-FAC7985966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46" y="3037"/>
              <a:ext cx="86" cy="36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28" name="Line 108">
              <a:extLst>
                <a:ext uri="{FF2B5EF4-FFF2-40B4-BE49-F238E27FC236}">
                  <a16:creationId xmlns:a16="http://schemas.microsoft.com/office/drawing/2014/main" id="{75F31876-0D17-9F4E-8319-818D5842EB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2" y="3073"/>
              <a:ext cx="86" cy="29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29" name="Line 109">
              <a:extLst>
                <a:ext uri="{FF2B5EF4-FFF2-40B4-BE49-F238E27FC236}">
                  <a16:creationId xmlns:a16="http://schemas.microsoft.com/office/drawing/2014/main" id="{5B941212-0C5F-E646-97EA-4442265C16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18" y="3102"/>
              <a:ext cx="80" cy="22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30" name="Line 110">
              <a:extLst>
                <a:ext uri="{FF2B5EF4-FFF2-40B4-BE49-F238E27FC236}">
                  <a16:creationId xmlns:a16="http://schemas.microsoft.com/office/drawing/2014/main" id="{29B55C46-7093-8F43-B4A2-A58F03F96D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98" y="3124"/>
              <a:ext cx="86" cy="21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31" name="Line 111">
              <a:extLst>
                <a:ext uri="{FF2B5EF4-FFF2-40B4-BE49-F238E27FC236}">
                  <a16:creationId xmlns:a16="http://schemas.microsoft.com/office/drawing/2014/main" id="{D2B37BF5-F71E-C64C-8567-D72AE92D27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84" y="3145"/>
              <a:ext cx="86" cy="15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32" name="Line 112">
              <a:extLst>
                <a:ext uri="{FF2B5EF4-FFF2-40B4-BE49-F238E27FC236}">
                  <a16:creationId xmlns:a16="http://schemas.microsoft.com/office/drawing/2014/main" id="{6E0F900F-B509-AF49-963B-DEDAC61475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70" y="3160"/>
              <a:ext cx="87" cy="14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33" name="Line 113">
              <a:extLst>
                <a:ext uri="{FF2B5EF4-FFF2-40B4-BE49-F238E27FC236}">
                  <a16:creationId xmlns:a16="http://schemas.microsoft.com/office/drawing/2014/main" id="{919D5BAF-FFC2-FF4C-9A2F-EBF4EA705C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7" y="3174"/>
              <a:ext cx="86" cy="7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34" name="Line 114">
              <a:extLst>
                <a:ext uri="{FF2B5EF4-FFF2-40B4-BE49-F238E27FC236}">
                  <a16:creationId xmlns:a16="http://schemas.microsoft.com/office/drawing/2014/main" id="{23F63408-CF35-9248-85C8-8FBEDFA533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43" y="3181"/>
              <a:ext cx="87" cy="8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35" name="Line 115">
              <a:extLst>
                <a:ext uri="{FF2B5EF4-FFF2-40B4-BE49-F238E27FC236}">
                  <a16:creationId xmlns:a16="http://schemas.microsoft.com/office/drawing/2014/main" id="{EE9665E0-B195-744D-AA3A-E14AEE27F4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305" y="1276"/>
              <a:ext cx="1" cy="1934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30836" name="Freeform 116">
            <a:extLst>
              <a:ext uri="{FF2B5EF4-FFF2-40B4-BE49-F238E27FC236}">
                <a16:creationId xmlns:a16="http://schemas.microsoft.com/office/drawing/2014/main" id="{227BC78B-493D-A043-B3D9-21C9A39E5391}"/>
              </a:ext>
            </a:extLst>
          </p:cNvPr>
          <p:cNvSpPr>
            <a:spLocks/>
          </p:cNvSpPr>
          <p:nvPr/>
        </p:nvSpPr>
        <p:spPr bwMode="auto">
          <a:xfrm>
            <a:off x="1343025" y="2649538"/>
            <a:ext cx="2584450" cy="2541587"/>
          </a:xfrm>
          <a:custGeom>
            <a:avLst/>
            <a:gdLst>
              <a:gd name="T0" fmla="*/ 2220 w 2220"/>
              <a:gd name="T1" fmla="*/ 1922 h 1923"/>
              <a:gd name="T2" fmla="*/ 2217 w 2220"/>
              <a:gd name="T3" fmla="*/ 0 h 1923"/>
              <a:gd name="T4" fmla="*/ 2107 w 2220"/>
              <a:gd name="T5" fmla="*/ 130 h 1923"/>
              <a:gd name="T6" fmla="*/ 2029 w 2220"/>
              <a:gd name="T7" fmla="*/ 234 h 1923"/>
              <a:gd name="T8" fmla="*/ 1957 w 2220"/>
              <a:gd name="T9" fmla="*/ 328 h 1923"/>
              <a:gd name="T10" fmla="*/ 1855 w 2220"/>
              <a:gd name="T11" fmla="*/ 484 h 1923"/>
              <a:gd name="T12" fmla="*/ 1798 w 2220"/>
              <a:gd name="T13" fmla="*/ 567 h 1923"/>
              <a:gd name="T14" fmla="*/ 1735 w 2220"/>
              <a:gd name="T15" fmla="*/ 663 h 1923"/>
              <a:gd name="T16" fmla="*/ 1669 w 2220"/>
              <a:gd name="T17" fmla="*/ 764 h 1923"/>
              <a:gd name="T18" fmla="*/ 1601 w 2220"/>
              <a:gd name="T19" fmla="*/ 864 h 1923"/>
              <a:gd name="T20" fmla="*/ 1539 w 2220"/>
              <a:gd name="T21" fmla="*/ 952 h 1923"/>
              <a:gd name="T22" fmla="*/ 1471 w 2220"/>
              <a:gd name="T23" fmla="*/ 1053 h 1923"/>
              <a:gd name="T24" fmla="*/ 1384 w 2220"/>
              <a:gd name="T25" fmla="*/ 1164 h 1923"/>
              <a:gd name="T26" fmla="*/ 1319 w 2220"/>
              <a:gd name="T27" fmla="*/ 1250 h 1923"/>
              <a:gd name="T28" fmla="*/ 1237 w 2220"/>
              <a:gd name="T29" fmla="*/ 1342 h 1923"/>
              <a:gd name="T30" fmla="*/ 1057 w 2220"/>
              <a:gd name="T31" fmla="*/ 1518 h 1923"/>
              <a:gd name="T32" fmla="*/ 941 w 2220"/>
              <a:gd name="T33" fmla="*/ 1614 h 1923"/>
              <a:gd name="T34" fmla="*/ 819 w 2220"/>
              <a:gd name="T35" fmla="*/ 1692 h 1923"/>
              <a:gd name="T36" fmla="*/ 745 w 2220"/>
              <a:gd name="T37" fmla="*/ 1736 h 1923"/>
              <a:gd name="T38" fmla="*/ 673 w 2220"/>
              <a:gd name="T39" fmla="*/ 1764 h 1923"/>
              <a:gd name="T40" fmla="*/ 569 w 2220"/>
              <a:gd name="T41" fmla="*/ 1802 h 1923"/>
              <a:gd name="T42" fmla="*/ 469 w 2220"/>
              <a:gd name="T43" fmla="*/ 1836 h 1923"/>
              <a:gd name="T44" fmla="*/ 310 w 2220"/>
              <a:gd name="T45" fmla="*/ 1872 h 1923"/>
              <a:gd name="T46" fmla="*/ 160 w 2220"/>
              <a:gd name="T47" fmla="*/ 1898 h 1923"/>
              <a:gd name="T48" fmla="*/ 0 w 2220"/>
              <a:gd name="T49" fmla="*/ 1908 h 1923"/>
              <a:gd name="T50" fmla="*/ 1 w 2220"/>
              <a:gd name="T51" fmla="*/ 1923 h 1923"/>
              <a:gd name="T52" fmla="*/ 2220 w 2220"/>
              <a:gd name="T53" fmla="*/ 1922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220" h="1923">
                <a:moveTo>
                  <a:pt x="2220" y="1922"/>
                </a:moveTo>
                <a:cubicBezTo>
                  <a:pt x="2219" y="1575"/>
                  <a:pt x="2219" y="360"/>
                  <a:pt x="2217" y="0"/>
                </a:cubicBezTo>
                <a:cubicBezTo>
                  <a:pt x="2190" y="40"/>
                  <a:pt x="2169" y="48"/>
                  <a:pt x="2107" y="130"/>
                </a:cubicBezTo>
                <a:cubicBezTo>
                  <a:pt x="2074" y="172"/>
                  <a:pt x="2055" y="194"/>
                  <a:pt x="2029" y="234"/>
                </a:cubicBezTo>
                <a:cubicBezTo>
                  <a:pt x="1983" y="290"/>
                  <a:pt x="2005" y="267"/>
                  <a:pt x="1957" y="328"/>
                </a:cubicBezTo>
                <a:cubicBezTo>
                  <a:pt x="1905" y="412"/>
                  <a:pt x="1890" y="431"/>
                  <a:pt x="1855" y="484"/>
                </a:cubicBezTo>
                <a:cubicBezTo>
                  <a:pt x="1842" y="503"/>
                  <a:pt x="1813" y="550"/>
                  <a:pt x="1798" y="567"/>
                </a:cubicBezTo>
                <a:cubicBezTo>
                  <a:pt x="1768" y="601"/>
                  <a:pt x="1762" y="627"/>
                  <a:pt x="1735" y="663"/>
                </a:cubicBezTo>
                <a:cubicBezTo>
                  <a:pt x="1703" y="699"/>
                  <a:pt x="1693" y="730"/>
                  <a:pt x="1669" y="764"/>
                </a:cubicBezTo>
                <a:cubicBezTo>
                  <a:pt x="1643" y="801"/>
                  <a:pt x="1641" y="804"/>
                  <a:pt x="1601" y="864"/>
                </a:cubicBezTo>
                <a:cubicBezTo>
                  <a:pt x="1591" y="894"/>
                  <a:pt x="1591" y="876"/>
                  <a:pt x="1539" y="952"/>
                </a:cubicBezTo>
                <a:cubicBezTo>
                  <a:pt x="1518" y="978"/>
                  <a:pt x="1492" y="1027"/>
                  <a:pt x="1471" y="1053"/>
                </a:cubicBezTo>
                <a:cubicBezTo>
                  <a:pt x="1420" y="1114"/>
                  <a:pt x="1426" y="1096"/>
                  <a:pt x="1384" y="1164"/>
                </a:cubicBezTo>
                <a:cubicBezTo>
                  <a:pt x="1342" y="1212"/>
                  <a:pt x="1369" y="1188"/>
                  <a:pt x="1319" y="1250"/>
                </a:cubicBezTo>
                <a:cubicBezTo>
                  <a:pt x="1258" y="1317"/>
                  <a:pt x="1293" y="1270"/>
                  <a:pt x="1237" y="1342"/>
                </a:cubicBezTo>
                <a:cubicBezTo>
                  <a:pt x="1211" y="1366"/>
                  <a:pt x="1082" y="1495"/>
                  <a:pt x="1057" y="1518"/>
                </a:cubicBezTo>
                <a:cubicBezTo>
                  <a:pt x="1003" y="1554"/>
                  <a:pt x="987" y="1580"/>
                  <a:pt x="941" y="1614"/>
                </a:cubicBezTo>
                <a:cubicBezTo>
                  <a:pt x="922" y="1628"/>
                  <a:pt x="839" y="1679"/>
                  <a:pt x="819" y="1692"/>
                </a:cubicBezTo>
                <a:cubicBezTo>
                  <a:pt x="786" y="1712"/>
                  <a:pt x="783" y="1716"/>
                  <a:pt x="745" y="1736"/>
                </a:cubicBezTo>
                <a:cubicBezTo>
                  <a:pt x="673" y="1761"/>
                  <a:pt x="745" y="1743"/>
                  <a:pt x="673" y="1764"/>
                </a:cubicBezTo>
                <a:cubicBezTo>
                  <a:pt x="625" y="1788"/>
                  <a:pt x="569" y="1802"/>
                  <a:pt x="569" y="1802"/>
                </a:cubicBezTo>
                <a:cubicBezTo>
                  <a:pt x="536" y="1826"/>
                  <a:pt x="507" y="1817"/>
                  <a:pt x="469" y="1836"/>
                </a:cubicBezTo>
                <a:cubicBezTo>
                  <a:pt x="346" y="1869"/>
                  <a:pt x="480" y="1835"/>
                  <a:pt x="310" y="1872"/>
                </a:cubicBezTo>
                <a:cubicBezTo>
                  <a:pt x="245" y="1878"/>
                  <a:pt x="226" y="1884"/>
                  <a:pt x="160" y="1898"/>
                </a:cubicBezTo>
                <a:cubicBezTo>
                  <a:pt x="79" y="1902"/>
                  <a:pt x="26" y="1904"/>
                  <a:pt x="0" y="1908"/>
                </a:cubicBezTo>
                <a:cubicBezTo>
                  <a:pt x="0" y="1922"/>
                  <a:pt x="0" y="1907"/>
                  <a:pt x="1" y="1923"/>
                </a:cubicBezTo>
                <a:cubicBezTo>
                  <a:pt x="430" y="1918"/>
                  <a:pt x="1851" y="1922"/>
                  <a:pt x="2220" y="1922"/>
                </a:cubicBezTo>
                <a:close/>
              </a:path>
            </a:pathLst>
          </a:custGeom>
          <a:blipFill dpi="0" rotWithShape="0">
            <a:blip r:embed="rId3"/>
            <a:srcRect/>
            <a:tile tx="0" ty="0" sx="100000" sy="100000" flip="none" algn="tl"/>
          </a:blipFill>
          <a:ln w="9525">
            <a:solidFill>
              <a:srgbClr val="FFFF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37" name="Freeform 117">
            <a:extLst>
              <a:ext uri="{FF2B5EF4-FFF2-40B4-BE49-F238E27FC236}">
                <a16:creationId xmlns:a16="http://schemas.microsoft.com/office/drawing/2014/main" id="{F77578DC-54D4-B44D-ABA9-759BEADBC483}"/>
              </a:ext>
            </a:extLst>
          </p:cNvPr>
          <p:cNvSpPr>
            <a:spLocks/>
          </p:cNvSpPr>
          <p:nvPr/>
        </p:nvSpPr>
        <p:spPr bwMode="auto">
          <a:xfrm>
            <a:off x="3937000" y="2378075"/>
            <a:ext cx="887413" cy="2808288"/>
          </a:xfrm>
          <a:custGeom>
            <a:avLst/>
            <a:gdLst>
              <a:gd name="T0" fmla="*/ 0 w 762"/>
              <a:gd name="T1" fmla="*/ 2126 h 2126"/>
              <a:gd name="T2" fmla="*/ 760 w 762"/>
              <a:gd name="T3" fmla="*/ 2126 h 2126"/>
              <a:gd name="T4" fmla="*/ 762 w 762"/>
              <a:gd name="T5" fmla="*/ 202 h 2126"/>
              <a:gd name="T6" fmla="*/ 622 w 762"/>
              <a:gd name="T7" fmla="*/ 78 h 2126"/>
              <a:gd name="T8" fmla="*/ 514 w 762"/>
              <a:gd name="T9" fmla="*/ 18 h 2126"/>
              <a:gd name="T10" fmla="*/ 406 w 762"/>
              <a:gd name="T11" fmla="*/ 2 h 2126"/>
              <a:gd name="T12" fmla="*/ 256 w 762"/>
              <a:gd name="T13" fmla="*/ 14 h 2126"/>
              <a:gd name="T14" fmla="*/ 130 w 762"/>
              <a:gd name="T15" fmla="*/ 86 h 2126"/>
              <a:gd name="T16" fmla="*/ 0 w 762"/>
              <a:gd name="T17" fmla="*/ 194 h 2126"/>
              <a:gd name="T18" fmla="*/ 0 w 762"/>
              <a:gd name="T19" fmla="*/ 2126 h 2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62" h="2126">
                <a:moveTo>
                  <a:pt x="0" y="2126"/>
                </a:moveTo>
                <a:cubicBezTo>
                  <a:pt x="248" y="2126"/>
                  <a:pt x="510" y="2126"/>
                  <a:pt x="760" y="2126"/>
                </a:cubicBezTo>
                <a:cubicBezTo>
                  <a:pt x="760" y="1180"/>
                  <a:pt x="760" y="884"/>
                  <a:pt x="762" y="202"/>
                </a:cubicBezTo>
                <a:cubicBezTo>
                  <a:pt x="696" y="138"/>
                  <a:pt x="622" y="78"/>
                  <a:pt x="622" y="78"/>
                </a:cubicBezTo>
                <a:cubicBezTo>
                  <a:pt x="581" y="47"/>
                  <a:pt x="560" y="30"/>
                  <a:pt x="514" y="18"/>
                </a:cubicBezTo>
                <a:cubicBezTo>
                  <a:pt x="468" y="6"/>
                  <a:pt x="449" y="3"/>
                  <a:pt x="406" y="2"/>
                </a:cubicBezTo>
                <a:cubicBezTo>
                  <a:pt x="363" y="1"/>
                  <a:pt x="302" y="0"/>
                  <a:pt x="256" y="14"/>
                </a:cubicBezTo>
                <a:cubicBezTo>
                  <a:pt x="204" y="28"/>
                  <a:pt x="173" y="56"/>
                  <a:pt x="130" y="86"/>
                </a:cubicBezTo>
                <a:lnTo>
                  <a:pt x="0" y="194"/>
                </a:lnTo>
                <a:lnTo>
                  <a:pt x="0" y="2126"/>
                </a:lnTo>
                <a:close/>
              </a:path>
            </a:pathLst>
          </a:custGeom>
          <a:blipFill dpi="0" rotWithShape="0">
            <a:blip r:embed="rId4"/>
            <a:srcRect/>
            <a:tile tx="0" ty="0" sx="100000" sy="100000" flip="none" algn="tl"/>
          </a:blipFill>
          <a:ln w="9525">
            <a:solidFill>
              <a:srgbClr val="3399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38" name="Freeform 118">
            <a:extLst>
              <a:ext uri="{FF2B5EF4-FFF2-40B4-BE49-F238E27FC236}">
                <a16:creationId xmlns:a16="http://schemas.microsoft.com/office/drawing/2014/main" id="{A651AD92-0608-BA4D-89CA-3EA8D73DF809}"/>
              </a:ext>
            </a:extLst>
          </p:cNvPr>
          <p:cNvSpPr>
            <a:spLocks/>
          </p:cNvSpPr>
          <p:nvPr/>
        </p:nvSpPr>
        <p:spPr bwMode="auto">
          <a:xfrm>
            <a:off x="4819650" y="2638425"/>
            <a:ext cx="2593975" cy="2547938"/>
          </a:xfrm>
          <a:custGeom>
            <a:avLst/>
            <a:gdLst>
              <a:gd name="T0" fmla="*/ 2 w 2230"/>
              <a:gd name="T1" fmla="*/ 1929 h 1929"/>
              <a:gd name="T2" fmla="*/ 2 w 2230"/>
              <a:gd name="T3" fmla="*/ 0 h 1929"/>
              <a:gd name="T4" fmla="*/ 96 w 2230"/>
              <a:gd name="T5" fmla="*/ 109 h 1929"/>
              <a:gd name="T6" fmla="*/ 176 w 2230"/>
              <a:gd name="T7" fmla="*/ 203 h 1929"/>
              <a:gd name="T8" fmla="*/ 352 w 2230"/>
              <a:gd name="T9" fmla="*/ 449 h 1929"/>
              <a:gd name="T10" fmla="*/ 526 w 2230"/>
              <a:gd name="T11" fmla="*/ 729 h 1929"/>
              <a:gd name="T12" fmla="*/ 648 w 2230"/>
              <a:gd name="T13" fmla="*/ 903 h 1929"/>
              <a:gd name="T14" fmla="*/ 854 w 2230"/>
              <a:gd name="T15" fmla="*/ 1185 h 1929"/>
              <a:gd name="T16" fmla="*/ 1002 w 2230"/>
              <a:gd name="T17" fmla="*/ 1363 h 1929"/>
              <a:gd name="T18" fmla="*/ 1132 w 2230"/>
              <a:gd name="T19" fmla="*/ 1495 h 1929"/>
              <a:gd name="T20" fmla="*/ 1290 w 2230"/>
              <a:gd name="T21" fmla="*/ 1627 h 1929"/>
              <a:gd name="T22" fmla="*/ 1382 w 2230"/>
              <a:gd name="T23" fmla="*/ 1685 h 1929"/>
              <a:gd name="T24" fmla="*/ 1528 w 2230"/>
              <a:gd name="T25" fmla="*/ 1759 h 1929"/>
              <a:gd name="T26" fmla="*/ 1624 w 2230"/>
              <a:gd name="T27" fmla="*/ 1801 h 1929"/>
              <a:gd name="T28" fmla="*/ 1804 w 2230"/>
              <a:gd name="T29" fmla="*/ 1855 h 1929"/>
              <a:gd name="T30" fmla="*/ 1896 w 2230"/>
              <a:gd name="T31" fmla="*/ 1877 h 1929"/>
              <a:gd name="T32" fmla="*/ 2008 w 2230"/>
              <a:gd name="T33" fmla="*/ 1895 h 1929"/>
              <a:gd name="T34" fmla="*/ 2230 w 2230"/>
              <a:gd name="T35" fmla="*/ 1917 h 1929"/>
              <a:gd name="T36" fmla="*/ 2230 w 2230"/>
              <a:gd name="T37" fmla="*/ 1929 h 1929"/>
              <a:gd name="T38" fmla="*/ 2 w 2230"/>
              <a:gd name="T39" fmla="*/ 1929 h 19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230" h="1929">
                <a:moveTo>
                  <a:pt x="2" y="1929"/>
                </a:moveTo>
                <a:cubicBezTo>
                  <a:pt x="2" y="1024"/>
                  <a:pt x="0" y="202"/>
                  <a:pt x="2" y="0"/>
                </a:cubicBezTo>
                <a:cubicBezTo>
                  <a:pt x="26" y="23"/>
                  <a:pt x="71" y="78"/>
                  <a:pt x="96" y="109"/>
                </a:cubicBezTo>
                <a:lnTo>
                  <a:pt x="176" y="203"/>
                </a:lnTo>
                <a:lnTo>
                  <a:pt x="352" y="449"/>
                </a:lnTo>
                <a:lnTo>
                  <a:pt x="526" y="729"/>
                </a:lnTo>
                <a:lnTo>
                  <a:pt x="648" y="903"/>
                </a:lnTo>
                <a:lnTo>
                  <a:pt x="854" y="1185"/>
                </a:lnTo>
                <a:lnTo>
                  <a:pt x="1002" y="1363"/>
                </a:lnTo>
                <a:lnTo>
                  <a:pt x="1132" y="1495"/>
                </a:lnTo>
                <a:lnTo>
                  <a:pt x="1290" y="1627"/>
                </a:lnTo>
                <a:lnTo>
                  <a:pt x="1382" y="1685"/>
                </a:lnTo>
                <a:lnTo>
                  <a:pt x="1528" y="1759"/>
                </a:lnTo>
                <a:lnTo>
                  <a:pt x="1624" y="1801"/>
                </a:lnTo>
                <a:lnTo>
                  <a:pt x="1804" y="1855"/>
                </a:lnTo>
                <a:lnTo>
                  <a:pt x="1896" y="1877"/>
                </a:lnTo>
                <a:lnTo>
                  <a:pt x="2008" y="1895"/>
                </a:lnTo>
                <a:cubicBezTo>
                  <a:pt x="2064" y="1902"/>
                  <a:pt x="2193" y="1911"/>
                  <a:pt x="2230" y="1917"/>
                </a:cubicBezTo>
                <a:cubicBezTo>
                  <a:pt x="2224" y="1921"/>
                  <a:pt x="2228" y="1915"/>
                  <a:pt x="2230" y="1929"/>
                </a:cubicBezTo>
                <a:cubicBezTo>
                  <a:pt x="1674" y="1929"/>
                  <a:pt x="538" y="1929"/>
                  <a:pt x="2" y="1929"/>
                </a:cubicBezTo>
                <a:close/>
              </a:path>
            </a:pathLst>
          </a:custGeom>
          <a:blipFill dpi="0" rotWithShape="0">
            <a:blip r:embed="rId5"/>
            <a:srcRect/>
            <a:tile tx="0" ty="0" sx="100000" sy="100000" flip="none" algn="tl"/>
          </a:blipFill>
          <a:ln w="9525">
            <a:solidFill>
              <a:srgbClr val="FF99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39" name="Line 119">
            <a:extLst>
              <a:ext uri="{FF2B5EF4-FFF2-40B4-BE49-F238E27FC236}">
                <a16:creationId xmlns:a16="http://schemas.microsoft.com/office/drawing/2014/main" id="{B5C08779-21ED-704B-9222-39619EC905E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274763" y="1968500"/>
            <a:ext cx="6350" cy="329247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40" name="Line 120">
            <a:extLst>
              <a:ext uri="{FF2B5EF4-FFF2-40B4-BE49-F238E27FC236}">
                <a16:creationId xmlns:a16="http://schemas.microsoft.com/office/drawing/2014/main" id="{EED71D5B-D7F1-E44A-870F-102860FB5163}"/>
              </a:ext>
            </a:extLst>
          </p:cNvPr>
          <p:cNvSpPr>
            <a:spLocks noChangeShapeType="1"/>
          </p:cNvSpPr>
          <p:nvPr/>
        </p:nvSpPr>
        <p:spPr bwMode="auto">
          <a:xfrm>
            <a:off x="1225550" y="4573588"/>
            <a:ext cx="55563" cy="15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41" name="Line 121">
            <a:extLst>
              <a:ext uri="{FF2B5EF4-FFF2-40B4-BE49-F238E27FC236}">
                <a16:creationId xmlns:a16="http://schemas.microsoft.com/office/drawing/2014/main" id="{C3A93D06-5CFC-174E-8683-83F599FA3EB7}"/>
              </a:ext>
            </a:extLst>
          </p:cNvPr>
          <p:cNvSpPr>
            <a:spLocks noChangeShapeType="1"/>
          </p:cNvSpPr>
          <p:nvPr/>
        </p:nvSpPr>
        <p:spPr bwMode="auto">
          <a:xfrm>
            <a:off x="1225550" y="3922713"/>
            <a:ext cx="55563" cy="15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42" name="Line 122">
            <a:extLst>
              <a:ext uri="{FF2B5EF4-FFF2-40B4-BE49-F238E27FC236}">
                <a16:creationId xmlns:a16="http://schemas.microsoft.com/office/drawing/2014/main" id="{357F00B1-FBA3-FD4E-BE7A-E53BF5EFE593}"/>
              </a:ext>
            </a:extLst>
          </p:cNvPr>
          <p:cNvSpPr>
            <a:spLocks noChangeShapeType="1"/>
          </p:cNvSpPr>
          <p:nvPr/>
        </p:nvSpPr>
        <p:spPr bwMode="auto">
          <a:xfrm>
            <a:off x="1225550" y="3271838"/>
            <a:ext cx="55563" cy="15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43" name="Line 123">
            <a:extLst>
              <a:ext uri="{FF2B5EF4-FFF2-40B4-BE49-F238E27FC236}">
                <a16:creationId xmlns:a16="http://schemas.microsoft.com/office/drawing/2014/main" id="{521E9F11-CA0A-1D46-8CFF-ED40C212142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233488" y="2620963"/>
            <a:ext cx="47625" cy="15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44" name="Line 124">
            <a:extLst>
              <a:ext uri="{FF2B5EF4-FFF2-40B4-BE49-F238E27FC236}">
                <a16:creationId xmlns:a16="http://schemas.microsoft.com/office/drawing/2014/main" id="{075C29DA-A2CA-4945-91A7-80A96A3796A9}"/>
              </a:ext>
            </a:extLst>
          </p:cNvPr>
          <p:cNvSpPr>
            <a:spLocks noChangeShapeType="1"/>
          </p:cNvSpPr>
          <p:nvPr/>
        </p:nvSpPr>
        <p:spPr bwMode="auto">
          <a:xfrm>
            <a:off x="1225550" y="1968500"/>
            <a:ext cx="55563" cy="158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45" name="Rectangle 125">
            <a:extLst>
              <a:ext uri="{FF2B5EF4-FFF2-40B4-BE49-F238E27FC236}">
                <a16:creationId xmlns:a16="http://schemas.microsoft.com/office/drawing/2014/main" id="{02B51638-AD8B-BB48-BEA6-672AA437FE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2500" y="6135688"/>
            <a:ext cx="755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 b="1">
                <a:solidFill>
                  <a:srgbClr val="000000"/>
                </a:solidFill>
              </a:rPr>
              <a:t>                  </a:t>
            </a:r>
            <a:endParaRPr lang="de-DE" altLang="de-DE" sz="1400"/>
          </a:p>
        </p:txBody>
      </p:sp>
      <p:sp>
        <p:nvSpPr>
          <p:cNvPr id="30846" name="Rectangle 126">
            <a:extLst>
              <a:ext uri="{FF2B5EF4-FFF2-40B4-BE49-F238E27FC236}">
                <a16:creationId xmlns:a16="http://schemas.microsoft.com/office/drawing/2014/main" id="{369861B3-4271-1B40-808F-D928D20E5F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7363" y="6135688"/>
            <a:ext cx="3416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         I                II               III            IV        </a:t>
            </a:r>
            <a:endParaRPr lang="de-DE" altLang="de-DE" sz="1400"/>
          </a:p>
        </p:txBody>
      </p:sp>
      <p:grpSp>
        <p:nvGrpSpPr>
          <p:cNvPr id="30847" name="Group 127">
            <a:extLst>
              <a:ext uri="{FF2B5EF4-FFF2-40B4-BE49-F238E27FC236}">
                <a16:creationId xmlns:a16="http://schemas.microsoft.com/office/drawing/2014/main" id="{029DD298-4BF7-2D42-B768-05D93DCD19CB}"/>
              </a:ext>
            </a:extLst>
          </p:cNvPr>
          <p:cNvGrpSpPr>
            <a:grpSpLocks/>
          </p:cNvGrpSpPr>
          <p:nvPr/>
        </p:nvGrpSpPr>
        <p:grpSpPr bwMode="auto">
          <a:xfrm>
            <a:off x="2724150" y="5929313"/>
            <a:ext cx="3414713" cy="144462"/>
            <a:chOff x="2041" y="3795"/>
            <a:chExt cx="1989" cy="91"/>
          </a:xfrm>
        </p:grpSpPr>
        <p:sp>
          <p:nvSpPr>
            <p:cNvPr id="30848" name="Line 128">
              <a:extLst>
                <a:ext uri="{FF2B5EF4-FFF2-40B4-BE49-F238E27FC236}">
                  <a16:creationId xmlns:a16="http://schemas.microsoft.com/office/drawing/2014/main" id="{D1882C59-0DBC-B441-A7F4-F00478CF82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00" y="3840"/>
              <a:ext cx="1869" cy="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849" name="Freeform 129">
              <a:extLst>
                <a:ext uri="{FF2B5EF4-FFF2-40B4-BE49-F238E27FC236}">
                  <a16:creationId xmlns:a16="http://schemas.microsoft.com/office/drawing/2014/main" id="{69ABB1BB-2901-C04B-B5E3-A10523617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" y="3795"/>
              <a:ext cx="91" cy="91"/>
            </a:xfrm>
            <a:custGeom>
              <a:avLst/>
              <a:gdLst>
                <a:gd name="T0" fmla="*/ 182 w 182"/>
                <a:gd name="T1" fmla="*/ 0 h 183"/>
                <a:gd name="T2" fmla="*/ 0 w 182"/>
                <a:gd name="T3" fmla="*/ 91 h 183"/>
                <a:gd name="T4" fmla="*/ 182 w 182"/>
                <a:gd name="T5" fmla="*/ 183 h 183"/>
                <a:gd name="T6" fmla="*/ 125 w 182"/>
                <a:gd name="T7" fmla="*/ 91 h 183"/>
                <a:gd name="T8" fmla="*/ 182 w 182"/>
                <a:gd name="T9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183">
                  <a:moveTo>
                    <a:pt x="182" y="0"/>
                  </a:moveTo>
                  <a:lnTo>
                    <a:pt x="0" y="91"/>
                  </a:lnTo>
                  <a:lnTo>
                    <a:pt x="182" y="183"/>
                  </a:lnTo>
                  <a:lnTo>
                    <a:pt x="125" y="91"/>
                  </a:lnTo>
                  <a:lnTo>
                    <a:pt x="182" y="0"/>
                  </a:lnTo>
                  <a:close/>
                </a:path>
              </a:pathLst>
            </a:custGeom>
            <a:solidFill>
              <a:srgbClr val="000000"/>
            </a:solidFill>
            <a:ln w="12700" cmpd="sng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50" name="Freeform 130">
              <a:extLst>
                <a:ext uri="{FF2B5EF4-FFF2-40B4-BE49-F238E27FC236}">
                  <a16:creationId xmlns:a16="http://schemas.microsoft.com/office/drawing/2014/main" id="{CEF8FABE-D3C1-A04F-9AC4-CC9A7BD6E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9" y="3795"/>
              <a:ext cx="91" cy="91"/>
            </a:xfrm>
            <a:custGeom>
              <a:avLst/>
              <a:gdLst>
                <a:gd name="T0" fmla="*/ 0 w 183"/>
                <a:gd name="T1" fmla="*/ 183 h 183"/>
                <a:gd name="T2" fmla="*/ 183 w 183"/>
                <a:gd name="T3" fmla="*/ 91 h 183"/>
                <a:gd name="T4" fmla="*/ 0 w 183"/>
                <a:gd name="T5" fmla="*/ 0 h 183"/>
                <a:gd name="T6" fmla="*/ 58 w 183"/>
                <a:gd name="T7" fmla="*/ 91 h 183"/>
                <a:gd name="T8" fmla="*/ 0 w 183"/>
                <a:gd name="T9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83">
                  <a:moveTo>
                    <a:pt x="0" y="183"/>
                  </a:moveTo>
                  <a:lnTo>
                    <a:pt x="183" y="91"/>
                  </a:lnTo>
                  <a:lnTo>
                    <a:pt x="0" y="0"/>
                  </a:lnTo>
                  <a:lnTo>
                    <a:pt x="58" y="91"/>
                  </a:lnTo>
                  <a:lnTo>
                    <a:pt x="0" y="183"/>
                  </a:lnTo>
                  <a:close/>
                </a:path>
              </a:pathLst>
            </a:custGeom>
            <a:solidFill>
              <a:srgbClr val="000000"/>
            </a:solidFill>
            <a:ln w="12700" cmpd="sng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30851" name="Line 131">
            <a:extLst>
              <a:ext uri="{FF2B5EF4-FFF2-40B4-BE49-F238E27FC236}">
                <a16:creationId xmlns:a16="http://schemas.microsoft.com/office/drawing/2014/main" id="{AFDD756E-11EC-6049-B05F-B932BF974106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3203575" y="5718175"/>
            <a:ext cx="1588" cy="28257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52" name="Freeform 132">
            <a:extLst>
              <a:ext uri="{FF2B5EF4-FFF2-40B4-BE49-F238E27FC236}">
                <a16:creationId xmlns:a16="http://schemas.microsoft.com/office/drawing/2014/main" id="{578A1E91-1C5C-9748-965F-EA67DFB51C92}"/>
              </a:ext>
            </a:extLst>
          </p:cNvPr>
          <p:cNvSpPr>
            <a:spLocks/>
          </p:cNvSpPr>
          <p:nvPr/>
        </p:nvSpPr>
        <p:spPr bwMode="auto">
          <a:xfrm>
            <a:off x="3132138" y="5619750"/>
            <a:ext cx="107950" cy="144463"/>
          </a:xfrm>
          <a:custGeom>
            <a:avLst/>
            <a:gdLst>
              <a:gd name="T0" fmla="*/ 125 w 125"/>
              <a:gd name="T1" fmla="*/ 183 h 183"/>
              <a:gd name="T2" fmla="*/ 64 w 125"/>
              <a:gd name="T3" fmla="*/ 0 h 183"/>
              <a:gd name="T4" fmla="*/ 0 w 125"/>
              <a:gd name="T5" fmla="*/ 183 h 183"/>
              <a:gd name="T6" fmla="*/ 64 w 125"/>
              <a:gd name="T7" fmla="*/ 125 h 183"/>
              <a:gd name="T8" fmla="*/ 125 w 125"/>
              <a:gd name="T9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5" h="183">
                <a:moveTo>
                  <a:pt x="125" y="183"/>
                </a:moveTo>
                <a:lnTo>
                  <a:pt x="64" y="0"/>
                </a:lnTo>
                <a:lnTo>
                  <a:pt x="0" y="183"/>
                </a:lnTo>
                <a:lnTo>
                  <a:pt x="64" y="125"/>
                </a:lnTo>
                <a:lnTo>
                  <a:pt x="125" y="18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54" name="Line 134">
            <a:extLst>
              <a:ext uri="{FF2B5EF4-FFF2-40B4-BE49-F238E27FC236}">
                <a16:creationId xmlns:a16="http://schemas.microsoft.com/office/drawing/2014/main" id="{E6682D20-DBBB-374E-8D54-87289E257A9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35413" y="5715000"/>
            <a:ext cx="3175" cy="28575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55" name="Freeform 135">
            <a:extLst>
              <a:ext uri="{FF2B5EF4-FFF2-40B4-BE49-F238E27FC236}">
                <a16:creationId xmlns:a16="http://schemas.microsoft.com/office/drawing/2014/main" id="{BAC91984-EEC0-7948-87C0-CFAB896F9703}"/>
              </a:ext>
            </a:extLst>
          </p:cNvPr>
          <p:cNvSpPr>
            <a:spLocks/>
          </p:cNvSpPr>
          <p:nvPr/>
        </p:nvSpPr>
        <p:spPr bwMode="auto">
          <a:xfrm>
            <a:off x="3884613" y="5619750"/>
            <a:ext cx="106362" cy="144463"/>
          </a:xfrm>
          <a:custGeom>
            <a:avLst/>
            <a:gdLst>
              <a:gd name="T0" fmla="*/ 125 w 125"/>
              <a:gd name="T1" fmla="*/ 183 h 183"/>
              <a:gd name="T2" fmla="*/ 64 w 125"/>
              <a:gd name="T3" fmla="*/ 0 h 183"/>
              <a:gd name="T4" fmla="*/ 0 w 125"/>
              <a:gd name="T5" fmla="*/ 183 h 183"/>
              <a:gd name="T6" fmla="*/ 64 w 125"/>
              <a:gd name="T7" fmla="*/ 125 h 183"/>
              <a:gd name="T8" fmla="*/ 125 w 125"/>
              <a:gd name="T9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5" h="183">
                <a:moveTo>
                  <a:pt x="125" y="183"/>
                </a:moveTo>
                <a:lnTo>
                  <a:pt x="64" y="0"/>
                </a:lnTo>
                <a:lnTo>
                  <a:pt x="0" y="183"/>
                </a:lnTo>
                <a:lnTo>
                  <a:pt x="64" y="125"/>
                </a:lnTo>
                <a:lnTo>
                  <a:pt x="125" y="18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56" name="Line 136">
            <a:extLst>
              <a:ext uri="{FF2B5EF4-FFF2-40B4-BE49-F238E27FC236}">
                <a16:creationId xmlns:a16="http://schemas.microsoft.com/office/drawing/2014/main" id="{84D02DFE-FB9A-1342-A2D3-7728BDB3E6AA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516563" y="5734050"/>
            <a:ext cx="1587" cy="2667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57" name="Freeform 137">
            <a:extLst>
              <a:ext uri="{FF2B5EF4-FFF2-40B4-BE49-F238E27FC236}">
                <a16:creationId xmlns:a16="http://schemas.microsoft.com/office/drawing/2014/main" id="{384A1742-556E-4C46-AD22-23395DFFD1AC}"/>
              </a:ext>
            </a:extLst>
          </p:cNvPr>
          <p:cNvSpPr>
            <a:spLocks/>
          </p:cNvSpPr>
          <p:nvPr/>
        </p:nvSpPr>
        <p:spPr bwMode="auto">
          <a:xfrm>
            <a:off x="5472113" y="5619750"/>
            <a:ext cx="107950" cy="144463"/>
          </a:xfrm>
          <a:custGeom>
            <a:avLst/>
            <a:gdLst>
              <a:gd name="T0" fmla="*/ 125 w 125"/>
              <a:gd name="T1" fmla="*/ 183 h 183"/>
              <a:gd name="T2" fmla="*/ 64 w 125"/>
              <a:gd name="T3" fmla="*/ 0 h 183"/>
              <a:gd name="T4" fmla="*/ 0 w 125"/>
              <a:gd name="T5" fmla="*/ 183 h 183"/>
              <a:gd name="T6" fmla="*/ 64 w 125"/>
              <a:gd name="T7" fmla="*/ 125 h 183"/>
              <a:gd name="T8" fmla="*/ 125 w 125"/>
              <a:gd name="T9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5" h="183">
                <a:moveTo>
                  <a:pt x="125" y="183"/>
                </a:moveTo>
                <a:lnTo>
                  <a:pt x="64" y="0"/>
                </a:lnTo>
                <a:lnTo>
                  <a:pt x="0" y="183"/>
                </a:lnTo>
                <a:lnTo>
                  <a:pt x="64" y="125"/>
                </a:lnTo>
                <a:lnTo>
                  <a:pt x="125" y="18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59" name="Line 139">
            <a:extLst>
              <a:ext uri="{FF2B5EF4-FFF2-40B4-BE49-F238E27FC236}">
                <a16:creationId xmlns:a16="http://schemas.microsoft.com/office/drawing/2014/main" id="{0125B179-0F7A-0742-B8B5-3E7F667B9D0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05363" y="5715000"/>
            <a:ext cx="1587" cy="28575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60" name="Freeform 140">
            <a:extLst>
              <a:ext uri="{FF2B5EF4-FFF2-40B4-BE49-F238E27FC236}">
                <a16:creationId xmlns:a16="http://schemas.microsoft.com/office/drawing/2014/main" id="{15493F6F-184F-614A-8B86-5BC5DB4BF467}"/>
              </a:ext>
            </a:extLst>
          </p:cNvPr>
          <p:cNvSpPr>
            <a:spLocks/>
          </p:cNvSpPr>
          <p:nvPr/>
        </p:nvSpPr>
        <p:spPr bwMode="auto">
          <a:xfrm>
            <a:off x="4752975" y="5619750"/>
            <a:ext cx="106363" cy="144463"/>
          </a:xfrm>
          <a:custGeom>
            <a:avLst/>
            <a:gdLst>
              <a:gd name="T0" fmla="*/ 125 w 125"/>
              <a:gd name="T1" fmla="*/ 183 h 183"/>
              <a:gd name="T2" fmla="*/ 63 w 125"/>
              <a:gd name="T3" fmla="*/ 0 h 183"/>
              <a:gd name="T4" fmla="*/ 0 w 125"/>
              <a:gd name="T5" fmla="*/ 183 h 183"/>
              <a:gd name="T6" fmla="*/ 63 w 125"/>
              <a:gd name="T7" fmla="*/ 125 h 183"/>
              <a:gd name="T8" fmla="*/ 125 w 125"/>
              <a:gd name="T9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5" h="183">
                <a:moveTo>
                  <a:pt x="125" y="183"/>
                </a:moveTo>
                <a:lnTo>
                  <a:pt x="63" y="0"/>
                </a:lnTo>
                <a:lnTo>
                  <a:pt x="0" y="183"/>
                </a:lnTo>
                <a:lnTo>
                  <a:pt x="63" y="125"/>
                </a:lnTo>
                <a:lnTo>
                  <a:pt x="125" y="18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61" name="Rectangle 141">
            <a:extLst>
              <a:ext uri="{FF2B5EF4-FFF2-40B4-BE49-F238E27FC236}">
                <a16:creationId xmlns:a16="http://schemas.microsoft.com/office/drawing/2014/main" id="{2A8D7946-95D2-814D-AA4B-55C32C8C6C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6588" y="3817938"/>
            <a:ext cx="6985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altLang="de-DE" sz="1600" b="1"/>
              <a:t>29,3 %</a:t>
            </a:r>
          </a:p>
        </p:txBody>
      </p:sp>
      <p:sp>
        <p:nvSpPr>
          <p:cNvPr id="30862" name="Rectangle 142">
            <a:extLst>
              <a:ext uri="{FF2B5EF4-FFF2-40B4-BE49-F238E27FC236}">
                <a16:creationId xmlns:a16="http://schemas.microsoft.com/office/drawing/2014/main" id="{537438FC-15B2-C144-8898-46E74B8C9C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1663" y="1773238"/>
            <a:ext cx="4926012" cy="3190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63" name="Line 143">
            <a:extLst>
              <a:ext uri="{FF2B5EF4-FFF2-40B4-BE49-F238E27FC236}">
                <a16:creationId xmlns:a16="http://schemas.microsoft.com/office/drawing/2014/main" id="{F713F08C-908B-024B-9687-29FDB954B237}"/>
              </a:ext>
            </a:extLst>
          </p:cNvPr>
          <p:cNvSpPr>
            <a:spLocks noChangeShapeType="1"/>
          </p:cNvSpPr>
          <p:nvPr/>
        </p:nvSpPr>
        <p:spPr bwMode="auto">
          <a:xfrm>
            <a:off x="2135188" y="1944688"/>
            <a:ext cx="241300" cy="1587"/>
          </a:xfrm>
          <a:prstGeom prst="line">
            <a:avLst/>
          </a:prstGeom>
          <a:noFill/>
          <a:ln w="22225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64" name="Rectangle 144">
            <a:extLst>
              <a:ext uri="{FF2B5EF4-FFF2-40B4-BE49-F238E27FC236}">
                <a16:creationId xmlns:a16="http://schemas.microsoft.com/office/drawing/2014/main" id="{250BEF2A-EAA8-E84A-A50E-0D5039FA46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9838" y="1841500"/>
            <a:ext cx="83978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Hauptschule</a:t>
            </a:r>
            <a:endParaRPr lang="de-DE" altLang="de-DE" sz="1400"/>
          </a:p>
        </p:txBody>
      </p:sp>
      <p:sp>
        <p:nvSpPr>
          <p:cNvPr id="30865" name="Line 145">
            <a:extLst>
              <a:ext uri="{FF2B5EF4-FFF2-40B4-BE49-F238E27FC236}">
                <a16:creationId xmlns:a16="http://schemas.microsoft.com/office/drawing/2014/main" id="{2C6E9148-0095-1044-8334-A8B170EE0592}"/>
              </a:ext>
            </a:extLst>
          </p:cNvPr>
          <p:cNvSpPr>
            <a:spLocks noChangeShapeType="1"/>
          </p:cNvSpPr>
          <p:nvPr/>
        </p:nvSpPr>
        <p:spPr bwMode="auto">
          <a:xfrm>
            <a:off x="3824288" y="1944688"/>
            <a:ext cx="242887" cy="1587"/>
          </a:xfrm>
          <a:prstGeom prst="line">
            <a:avLst/>
          </a:prstGeom>
          <a:noFill/>
          <a:ln w="222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66" name="Rectangle 146">
            <a:extLst>
              <a:ext uri="{FF2B5EF4-FFF2-40B4-BE49-F238E27FC236}">
                <a16:creationId xmlns:a16="http://schemas.microsoft.com/office/drawing/2014/main" id="{2D17125B-F937-EE47-96B1-C0FE4A46C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7350" y="1841500"/>
            <a:ext cx="7508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Realschule</a:t>
            </a:r>
            <a:endParaRPr lang="de-DE" altLang="de-DE" sz="1400"/>
          </a:p>
        </p:txBody>
      </p:sp>
      <p:sp>
        <p:nvSpPr>
          <p:cNvPr id="30867" name="Line 147">
            <a:extLst>
              <a:ext uri="{FF2B5EF4-FFF2-40B4-BE49-F238E27FC236}">
                <a16:creationId xmlns:a16="http://schemas.microsoft.com/office/drawing/2014/main" id="{8D125020-45F2-EC40-950F-B7FBC2950361}"/>
              </a:ext>
            </a:extLst>
          </p:cNvPr>
          <p:cNvSpPr>
            <a:spLocks noChangeShapeType="1"/>
          </p:cNvSpPr>
          <p:nvPr/>
        </p:nvSpPr>
        <p:spPr bwMode="auto">
          <a:xfrm>
            <a:off x="5413375" y="1944688"/>
            <a:ext cx="241300" cy="1587"/>
          </a:xfrm>
          <a:prstGeom prst="line">
            <a:avLst/>
          </a:prstGeom>
          <a:noFill/>
          <a:ln w="222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68" name="Rectangle 148">
            <a:extLst>
              <a:ext uri="{FF2B5EF4-FFF2-40B4-BE49-F238E27FC236}">
                <a16:creationId xmlns:a16="http://schemas.microsoft.com/office/drawing/2014/main" id="{A0C20A56-E8CA-F841-AF29-3206F56D77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1200" y="1841500"/>
            <a:ext cx="8080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Gymnasium</a:t>
            </a:r>
            <a:endParaRPr lang="de-DE" altLang="de-DE" sz="1400"/>
          </a:p>
        </p:txBody>
      </p:sp>
      <p:sp>
        <p:nvSpPr>
          <p:cNvPr id="30869" name="Rectangle 149">
            <a:extLst>
              <a:ext uri="{FF2B5EF4-FFF2-40B4-BE49-F238E27FC236}">
                <a16:creationId xmlns:a16="http://schemas.microsoft.com/office/drawing/2014/main" id="{B54E9C8D-C48F-6842-B340-EB2E05EB6F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35425" y="3817938"/>
            <a:ext cx="6985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altLang="de-DE" sz="1600" b="1"/>
              <a:t>35,7 %</a:t>
            </a:r>
          </a:p>
        </p:txBody>
      </p:sp>
      <p:sp>
        <p:nvSpPr>
          <p:cNvPr id="30870" name="Rectangle 150">
            <a:extLst>
              <a:ext uri="{FF2B5EF4-FFF2-40B4-BE49-F238E27FC236}">
                <a16:creationId xmlns:a16="http://schemas.microsoft.com/office/drawing/2014/main" id="{C3B9BDFF-DA2A-A045-A178-8746458DC4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95850" y="3817938"/>
            <a:ext cx="69532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altLang="de-DE" sz="1600" b="1"/>
              <a:t>34,9 %</a:t>
            </a:r>
          </a:p>
        </p:txBody>
      </p:sp>
      <p:sp>
        <p:nvSpPr>
          <p:cNvPr id="30871" name="Line 151">
            <a:extLst>
              <a:ext uri="{FF2B5EF4-FFF2-40B4-BE49-F238E27FC236}">
                <a16:creationId xmlns:a16="http://schemas.microsoft.com/office/drawing/2014/main" id="{D251FDCA-2272-2440-AAB0-B257C8F8C64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94050" y="2089150"/>
            <a:ext cx="1588" cy="3122613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72" name="Line 152">
            <a:extLst>
              <a:ext uri="{FF2B5EF4-FFF2-40B4-BE49-F238E27FC236}">
                <a16:creationId xmlns:a16="http://schemas.microsoft.com/office/drawing/2014/main" id="{A057A9D4-6E4D-E34B-8A8B-A662BE452C0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24300" y="2100263"/>
            <a:ext cx="1588" cy="311785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73" name="Line 153">
            <a:extLst>
              <a:ext uri="{FF2B5EF4-FFF2-40B4-BE49-F238E27FC236}">
                <a16:creationId xmlns:a16="http://schemas.microsoft.com/office/drawing/2014/main" id="{907AA1D4-73C2-0F40-B1E1-1DA6D8A73481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4787900" y="2090738"/>
            <a:ext cx="3175" cy="3133725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74" name="Line 154">
            <a:extLst>
              <a:ext uri="{FF2B5EF4-FFF2-40B4-BE49-F238E27FC236}">
                <a16:creationId xmlns:a16="http://schemas.microsoft.com/office/drawing/2014/main" id="{30D5CE19-3619-8C47-BA0C-2B431256122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21325" y="2092325"/>
            <a:ext cx="0" cy="3128963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0875" name="Rectangle 155">
            <a:extLst>
              <a:ext uri="{FF2B5EF4-FFF2-40B4-BE49-F238E27FC236}">
                <a16:creationId xmlns:a16="http://schemas.microsoft.com/office/drawing/2014/main" id="{416C0C03-B9AF-0A42-9730-4D58D964A6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6650" y="6240463"/>
            <a:ext cx="11763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Kompetenzstufen</a:t>
            </a:r>
            <a:endParaRPr lang="de-DE" altLang="de-DE" sz="1400"/>
          </a:p>
        </p:txBody>
      </p:sp>
      <p:sp>
        <p:nvSpPr>
          <p:cNvPr id="30876" name="Rectangle 156">
            <a:extLst>
              <a:ext uri="{FF2B5EF4-FFF2-40B4-BE49-F238E27FC236}">
                <a16:creationId xmlns:a16="http://schemas.microsoft.com/office/drawing/2014/main" id="{B78F62E6-D3AA-0147-B823-60C5ED0B81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825" y="115888"/>
            <a:ext cx="7005638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1pPr>
            <a:lvl2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2pPr>
            <a:lvl3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3pPr>
            <a:lvl4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4pPr>
            <a:lvl5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2400" b="1"/>
              <a:t>Dreiteiliges  Schulsystem: Glaubensfrage?</a:t>
            </a:r>
          </a:p>
        </p:txBody>
      </p:sp>
      <p:sp>
        <p:nvSpPr>
          <p:cNvPr id="30877" name="Rectangle 157">
            <a:extLst>
              <a:ext uri="{FF2B5EF4-FFF2-40B4-BE49-F238E27FC236}">
                <a16:creationId xmlns:a16="http://schemas.microsoft.com/office/drawing/2014/main" id="{034252DA-DB93-A84C-A452-7F5EF62C51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36613"/>
            <a:ext cx="8604250" cy="5616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500"/>
                                        <p:tgtEl>
                                          <p:spTgt spid="3087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8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Fußzeilenplatzhalter 1">
            <a:extLst>
              <a:ext uri="{FF2B5EF4-FFF2-40B4-BE49-F238E27FC236}">
                <a16:creationId xmlns:a16="http://schemas.microsoft.com/office/drawing/2014/main" id="{9FED5BF0-1045-E643-8BE1-F33FA22B58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141" name="Foliennummernplatzhalter 2">
            <a:extLst>
              <a:ext uri="{FF2B5EF4-FFF2-40B4-BE49-F238E27FC236}">
                <a16:creationId xmlns:a16="http://schemas.microsoft.com/office/drawing/2014/main" id="{3FB43F29-5AD2-1D43-9D9C-10592E9FA6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09ACD3B-21D1-7048-8A7E-F0FE94D32131}" type="slidenum">
              <a:rPr lang="de-DE" altLang="de-DE"/>
              <a:pPr/>
              <a:t>7</a:t>
            </a:fld>
            <a:endParaRPr lang="de-DE" altLang="de-DE"/>
          </a:p>
        </p:txBody>
      </p:sp>
      <p:sp>
        <p:nvSpPr>
          <p:cNvPr id="32770" name="Rectangle 2">
            <a:extLst>
              <a:ext uri="{FF2B5EF4-FFF2-40B4-BE49-F238E27FC236}">
                <a16:creationId xmlns:a16="http://schemas.microsoft.com/office/drawing/2014/main" id="{AB6FCDBA-A849-5E45-8835-531788F28E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" y="1412875"/>
            <a:ext cx="8088313" cy="5029200"/>
          </a:xfrm>
          <a:prstGeom prst="rect">
            <a:avLst/>
          </a:prstGeom>
          <a:noFill/>
          <a:ln w="38100">
            <a:solidFill>
              <a:srgbClr val="FFFF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772" name="Rectangle 4">
            <a:extLst>
              <a:ext uri="{FF2B5EF4-FFF2-40B4-BE49-F238E27FC236}">
                <a16:creationId xmlns:a16="http://schemas.microsoft.com/office/drawing/2014/main" id="{A9AC2BE4-FFD4-3247-A274-CB5B5EE1F7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9425" y="2062163"/>
            <a:ext cx="5899150" cy="325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73" name="Line 5">
            <a:extLst>
              <a:ext uri="{FF2B5EF4-FFF2-40B4-BE49-F238E27FC236}">
                <a16:creationId xmlns:a16="http://schemas.microsoft.com/office/drawing/2014/main" id="{D0F47DBB-CF76-784B-8F1E-D712178181B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49425" y="2062163"/>
            <a:ext cx="0" cy="326072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74" name="Line 6">
            <a:extLst>
              <a:ext uri="{FF2B5EF4-FFF2-40B4-BE49-F238E27FC236}">
                <a16:creationId xmlns:a16="http://schemas.microsoft.com/office/drawing/2014/main" id="{1A9D8F55-B260-EF41-B810-94C05EA417F0}"/>
              </a:ext>
            </a:extLst>
          </p:cNvPr>
          <p:cNvSpPr>
            <a:spLocks noChangeShapeType="1"/>
          </p:cNvSpPr>
          <p:nvPr/>
        </p:nvSpPr>
        <p:spPr bwMode="auto">
          <a:xfrm>
            <a:off x="1697038" y="5319713"/>
            <a:ext cx="52387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75" name="Line 7">
            <a:extLst>
              <a:ext uri="{FF2B5EF4-FFF2-40B4-BE49-F238E27FC236}">
                <a16:creationId xmlns:a16="http://schemas.microsoft.com/office/drawing/2014/main" id="{3A91EC13-EA68-0642-8E47-8C40B2DC877A}"/>
              </a:ext>
            </a:extLst>
          </p:cNvPr>
          <p:cNvSpPr>
            <a:spLocks noChangeShapeType="1"/>
          </p:cNvSpPr>
          <p:nvPr/>
        </p:nvSpPr>
        <p:spPr bwMode="auto">
          <a:xfrm>
            <a:off x="1697038" y="4668838"/>
            <a:ext cx="52387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76" name="Line 8">
            <a:extLst>
              <a:ext uri="{FF2B5EF4-FFF2-40B4-BE49-F238E27FC236}">
                <a16:creationId xmlns:a16="http://schemas.microsoft.com/office/drawing/2014/main" id="{2C15E6FC-0F0A-EB43-BA8A-535176881EA4}"/>
              </a:ext>
            </a:extLst>
          </p:cNvPr>
          <p:cNvSpPr>
            <a:spLocks noChangeShapeType="1"/>
          </p:cNvSpPr>
          <p:nvPr/>
        </p:nvSpPr>
        <p:spPr bwMode="auto">
          <a:xfrm>
            <a:off x="1697038" y="4016375"/>
            <a:ext cx="52387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77" name="Line 9">
            <a:extLst>
              <a:ext uri="{FF2B5EF4-FFF2-40B4-BE49-F238E27FC236}">
                <a16:creationId xmlns:a16="http://schemas.microsoft.com/office/drawing/2014/main" id="{A035F220-CBE7-4E45-966C-7F1689B5FDAF}"/>
              </a:ext>
            </a:extLst>
          </p:cNvPr>
          <p:cNvSpPr>
            <a:spLocks noChangeShapeType="1"/>
          </p:cNvSpPr>
          <p:nvPr/>
        </p:nvSpPr>
        <p:spPr bwMode="auto">
          <a:xfrm>
            <a:off x="1697038" y="3365500"/>
            <a:ext cx="52387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78" name="Line 10">
            <a:extLst>
              <a:ext uri="{FF2B5EF4-FFF2-40B4-BE49-F238E27FC236}">
                <a16:creationId xmlns:a16="http://schemas.microsoft.com/office/drawing/2014/main" id="{2C264A0C-82DD-9244-8696-27EC4C2B02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04975" y="2714625"/>
            <a:ext cx="44450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79" name="Line 11">
            <a:extLst>
              <a:ext uri="{FF2B5EF4-FFF2-40B4-BE49-F238E27FC236}">
                <a16:creationId xmlns:a16="http://schemas.microsoft.com/office/drawing/2014/main" id="{AD341C50-07B9-0E45-8485-031C1472F1B7}"/>
              </a:ext>
            </a:extLst>
          </p:cNvPr>
          <p:cNvSpPr>
            <a:spLocks noChangeShapeType="1"/>
          </p:cNvSpPr>
          <p:nvPr/>
        </p:nvSpPr>
        <p:spPr bwMode="auto">
          <a:xfrm>
            <a:off x="1697038" y="2062163"/>
            <a:ext cx="52387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80" name="Line 12">
            <a:extLst>
              <a:ext uri="{FF2B5EF4-FFF2-40B4-BE49-F238E27FC236}">
                <a16:creationId xmlns:a16="http://schemas.microsoft.com/office/drawing/2014/main" id="{CD4C255B-B292-0D4C-BAE5-5612ABCBBAB6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749425" y="5316538"/>
            <a:ext cx="0" cy="5397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81" name="Line 13">
            <a:extLst>
              <a:ext uri="{FF2B5EF4-FFF2-40B4-BE49-F238E27FC236}">
                <a16:creationId xmlns:a16="http://schemas.microsoft.com/office/drawing/2014/main" id="{FAAC3A80-7C0E-8548-8276-B6C77D120E70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2243138" y="5326063"/>
            <a:ext cx="1587" cy="4762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82" name="Line 14">
            <a:extLst>
              <a:ext uri="{FF2B5EF4-FFF2-40B4-BE49-F238E27FC236}">
                <a16:creationId xmlns:a16="http://schemas.microsoft.com/office/drawing/2014/main" id="{F41A91E3-FEE1-DC4D-9636-CFD8462BF56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33675" y="5319713"/>
            <a:ext cx="0" cy="50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83" name="Line 15">
            <a:extLst>
              <a:ext uri="{FF2B5EF4-FFF2-40B4-BE49-F238E27FC236}">
                <a16:creationId xmlns:a16="http://schemas.microsoft.com/office/drawing/2014/main" id="{71628D44-741D-1543-B3DE-C6D45D737D4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227388" y="5319713"/>
            <a:ext cx="0" cy="50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84" name="Line 16">
            <a:extLst>
              <a:ext uri="{FF2B5EF4-FFF2-40B4-BE49-F238E27FC236}">
                <a16:creationId xmlns:a16="http://schemas.microsoft.com/office/drawing/2014/main" id="{1C4A5D2A-D7DD-9149-8104-218941C3210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716338" y="5319713"/>
            <a:ext cx="0" cy="50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85" name="Line 17">
            <a:extLst>
              <a:ext uri="{FF2B5EF4-FFF2-40B4-BE49-F238E27FC236}">
                <a16:creationId xmlns:a16="http://schemas.microsoft.com/office/drawing/2014/main" id="{C7912E92-8351-AF40-90D2-B716F12CE2F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08463" y="5319713"/>
            <a:ext cx="1587" cy="50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86" name="Line 18">
            <a:extLst>
              <a:ext uri="{FF2B5EF4-FFF2-40B4-BE49-F238E27FC236}">
                <a16:creationId xmlns:a16="http://schemas.microsoft.com/office/drawing/2014/main" id="{37324804-47DB-FD47-8062-7712DFFAB64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99000" y="5324475"/>
            <a:ext cx="0" cy="523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87" name="Line 19">
            <a:extLst>
              <a:ext uri="{FF2B5EF4-FFF2-40B4-BE49-F238E27FC236}">
                <a16:creationId xmlns:a16="http://schemas.microsoft.com/office/drawing/2014/main" id="{268D8FDA-709C-A047-8B50-AD221BA0879A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191125" y="5327650"/>
            <a:ext cx="0" cy="50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88" name="Line 20">
            <a:extLst>
              <a:ext uri="{FF2B5EF4-FFF2-40B4-BE49-F238E27FC236}">
                <a16:creationId xmlns:a16="http://schemas.microsoft.com/office/drawing/2014/main" id="{86B00DB9-A18F-B344-B2D7-632D535CF704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681663" y="5321300"/>
            <a:ext cx="1587" cy="49213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89" name="Line 21">
            <a:extLst>
              <a:ext uri="{FF2B5EF4-FFF2-40B4-BE49-F238E27FC236}">
                <a16:creationId xmlns:a16="http://schemas.microsoft.com/office/drawing/2014/main" id="{E6EA4167-57BA-6048-BF03-C2E47C618757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6172200" y="5324475"/>
            <a:ext cx="0" cy="523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90" name="Line 22">
            <a:extLst>
              <a:ext uri="{FF2B5EF4-FFF2-40B4-BE49-F238E27FC236}">
                <a16:creationId xmlns:a16="http://schemas.microsoft.com/office/drawing/2014/main" id="{AB128BC5-3217-DA45-B7DF-2F23D1B08BA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665913" y="5319713"/>
            <a:ext cx="0" cy="50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91" name="Line 23">
            <a:extLst>
              <a:ext uri="{FF2B5EF4-FFF2-40B4-BE49-F238E27FC236}">
                <a16:creationId xmlns:a16="http://schemas.microsoft.com/office/drawing/2014/main" id="{483B25C6-BFA0-5949-AE50-CFD36A5AC146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7158038" y="5319713"/>
            <a:ext cx="0" cy="50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92" name="Line 24">
            <a:extLst>
              <a:ext uri="{FF2B5EF4-FFF2-40B4-BE49-F238E27FC236}">
                <a16:creationId xmlns:a16="http://schemas.microsoft.com/office/drawing/2014/main" id="{B255C358-E6C5-BA48-953E-992008ED79B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5321300"/>
            <a:ext cx="0" cy="50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93" name="Freeform 25">
            <a:extLst>
              <a:ext uri="{FF2B5EF4-FFF2-40B4-BE49-F238E27FC236}">
                <a16:creationId xmlns:a16="http://schemas.microsoft.com/office/drawing/2014/main" id="{5E59575E-DF0A-EC4D-B32A-CF5CBFCA87E2}"/>
              </a:ext>
            </a:extLst>
          </p:cNvPr>
          <p:cNvSpPr>
            <a:spLocks/>
          </p:cNvSpPr>
          <p:nvPr/>
        </p:nvSpPr>
        <p:spPr bwMode="auto">
          <a:xfrm>
            <a:off x="2243138" y="5291138"/>
            <a:ext cx="490537" cy="26987"/>
          </a:xfrm>
          <a:custGeom>
            <a:avLst/>
            <a:gdLst>
              <a:gd name="T0" fmla="*/ 0 w 599"/>
              <a:gd name="T1" fmla="*/ 32 h 32"/>
              <a:gd name="T2" fmla="*/ 75 w 599"/>
              <a:gd name="T3" fmla="*/ 28 h 32"/>
              <a:gd name="T4" fmla="*/ 150 w 599"/>
              <a:gd name="T5" fmla="*/ 28 h 32"/>
              <a:gd name="T6" fmla="*/ 299 w 599"/>
              <a:gd name="T7" fmla="*/ 27 h 32"/>
              <a:gd name="T8" fmla="*/ 374 w 599"/>
              <a:gd name="T9" fmla="*/ 23 h 32"/>
              <a:gd name="T10" fmla="*/ 449 w 599"/>
              <a:gd name="T11" fmla="*/ 19 h 32"/>
              <a:gd name="T12" fmla="*/ 524 w 599"/>
              <a:gd name="T13" fmla="*/ 11 h 32"/>
              <a:gd name="T14" fmla="*/ 599 w 599"/>
              <a:gd name="T15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99" h="32">
                <a:moveTo>
                  <a:pt x="0" y="32"/>
                </a:moveTo>
                <a:lnTo>
                  <a:pt x="75" y="28"/>
                </a:lnTo>
                <a:lnTo>
                  <a:pt x="150" y="28"/>
                </a:lnTo>
                <a:lnTo>
                  <a:pt x="299" y="27"/>
                </a:lnTo>
                <a:lnTo>
                  <a:pt x="374" y="23"/>
                </a:lnTo>
                <a:lnTo>
                  <a:pt x="449" y="19"/>
                </a:lnTo>
                <a:lnTo>
                  <a:pt x="524" y="11"/>
                </a:lnTo>
                <a:lnTo>
                  <a:pt x="599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94" name="Freeform 26">
            <a:extLst>
              <a:ext uri="{FF2B5EF4-FFF2-40B4-BE49-F238E27FC236}">
                <a16:creationId xmlns:a16="http://schemas.microsoft.com/office/drawing/2014/main" id="{5B60400B-193F-D244-917F-09CB6D758A16}"/>
              </a:ext>
            </a:extLst>
          </p:cNvPr>
          <p:cNvSpPr>
            <a:spLocks/>
          </p:cNvSpPr>
          <p:nvPr/>
        </p:nvSpPr>
        <p:spPr bwMode="auto">
          <a:xfrm>
            <a:off x="2733675" y="5143500"/>
            <a:ext cx="492125" cy="147638"/>
          </a:xfrm>
          <a:custGeom>
            <a:avLst/>
            <a:gdLst>
              <a:gd name="T0" fmla="*/ 0 w 601"/>
              <a:gd name="T1" fmla="*/ 187 h 187"/>
              <a:gd name="T2" fmla="*/ 75 w 601"/>
              <a:gd name="T3" fmla="*/ 173 h 187"/>
              <a:gd name="T4" fmla="*/ 150 w 601"/>
              <a:gd name="T5" fmla="*/ 164 h 187"/>
              <a:gd name="T6" fmla="*/ 224 w 601"/>
              <a:gd name="T7" fmla="*/ 150 h 187"/>
              <a:gd name="T8" fmla="*/ 299 w 601"/>
              <a:gd name="T9" fmla="*/ 135 h 187"/>
              <a:gd name="T10" fmla="*/ 338 w 601"/>
              <a:gd name="T11" fmla="*/ 125 h 187"/>
              <a:gd name="T12" fmla="*/ 376 w 601"/>
              <a:gd name="T13" fmla="*/ 114 h 187"/>
              <a:gd name="T14" fmla="*/ 413 w 601"/>
              <a:gd name="T15" fmla="*/ 100 h 187"/>
              <a:gd name="T16" fmla="*/ 451 w 601"/>
              <a:gd name="T17" fmla="*/ 87 h 187"/>
              <a:gd name="T18" fmla="*/ 488 w 601"/>
              <a:gd name="T19" fmla="*/ 70 h 187"/>
              <a:gd name="T20" fmla="*/ 526 w 601"/>
              <a:gd name="T21" fmla="*/ 48 h 187"/>
              <a:gd name="T22" fmla="*/ 562 w 601"/>
              <a:gd name="T23" fmla="*/ 25 h 187"/>
              <a:gd name="T24" fmla="*/ 601 w 601"/>
              <a:gd name="T25" fmla="*/ 0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01" h="187">
                <a:moveTo>
                  <a:pt x="0" y="187"/>
                </a:moveTo>
                <a:lnTo>
                  <a:pt x="75" y="173"/>
                </a:lnTo>
                <a:lnTo>
                  <a:pt x="150" y="164"/>
                </a:lnTo>
                <a:lnTo>
                  <a:pt x="224" y="150"/>
                </a:lnTo>
                <a:lnTo>
                  <a:pt x="299" y="135"/>
                </a:lnTo>
                <a:lnTo>
                  <a:pt x="338" y="125"/>
                </a:lnTo>
                <a:lnTo>
                  <a:pt x="376" y="114"/>
                </a:lnTo>
                <a:lnTo>
                  <a:pt x="413" y="100"/>
                </a:lnTo>
                <a:lnTo>
                  <a:pt x="451" y="87"/>
                </a:lnTo>
                <a:lnTo>
                  <a:pt x="488" y="70"/>
                </a:lnTo>
                <a:lnTo>
                  <a:pt x="526" y="48"/>
                </a:lnTo>
                <a:lnTo>
                  <a:pt x="562" y="25"/>
                </a:lnTo>
                <a:lnTo>
                  <a:pt x="601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95" name="Freeform 27">
            <a:extLst>
              <a:ext uri="{FF2B5EF4-FFF2-40B4-BE49-F238E27FC236}">
                <a16:creationId xmlns:a16="http://schemas.microsoft.com/office/drawing/2014/main" id="{E5A9B16F-FD72-784A-9FFF-42D96AE29CAE}"/>
              </a:ext>
            </a:extLst>
          </p:cNvPr>
          <p:cNvSpPr>
            <a:spLocks/>
          </p:cNvSpPr>
          <p:nvPr/>
        </p:nvSpPr>
        <p:spPr bwMode="auto">
          <a:xfrm>
            <a:off x="3225800" y="4595813"/>
            <a:ext cx="488950" cy="547687"/>
          </a:xfrm>
          <a:custGeom>
            <a:avLst/>
            <a:gdLst>
              <a:gd name="T0" fmla="*/ 0 w 599"/>
              <a:gd name="T1" fmla="*/ 691 h 691"/>
              <a:gd name="T2" fmla="*/ 38 w 599"/>
              <a:gd name="T3" fmla="*/ 663 h 691"/>
              <a:gd name="T4" fmla="*/ 75 w 599"/>
              <a:gd name="T5" fmla="*/ 632 h 691"/>
              <a:gd name="T6" fmla="*/ 113 w 599"/>
              <a:gd name="T7" fmla="*/ 597 h 691"/>
              <a:gd name="T8" fmla="*/ 150 w 599"/>
              <a:gd name="T9" fmla="*/ 563 h 691"/>
              <a:gd name="T10" fmla="*/ 188 w 599"/>
              <a:gd name="T11" fmla="*/ 524 h 691"/>
              <a:gd name="T12" fmla="*/ 224 w 599"/>
              <a:gd name="T13" fmla="*/ 486 h 691"/>
              <a:gd name="T14" fmla="*/ 263 w 599"/>
              <a:gd name="T15" fmla="*/ 444 h 691"/>
              <a:gd name="T16" fmla="*/ 299 w 599"/>
              <a:gd name="T17" fmla="*/ 400 h 691"/>
              <a:gd name="T18" fmla="*/ 336 w 599"/>
              <a:gd name="T19" fmla="*/ 355 h 691"/>
              <a:gd name="T20" fmla="*/ 374 w 599"/>
              <a:gd name="T21" fmla="*/ 307 h 691"/>
              <a:gd name="T22" fmla="*/ 411 w 599"/>
              <a:gd name="T23" fmla="*/ 259 h 691"/>
              <a:gd name="T24" fmla="*/ 449 w 599"/>
              <a:gd name="T25" fmla="*/ 209 h 691"/>
              <a:gd name="T26" fmla="*/ 524 w 599"/>
              <a:gd name="T27" fmla="*/ 108 h 691"/>
              <a:gd name="T28" fmla="*/ 599 w 599"/>
              <a:gd name="T29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99" h="691">
                <a:moveTo>
                  <a:pt x="0" y="691"/>
                </a:moveTo>
                <a:lnTo>
                  <a:pt x="38" y="663"/>
                </a:lnTo>
                <a:lnTo>
                  <a:pt x="75" y="632"/>
                </a:lnTo>
                <a:lnTo>
                  <a:pt x="113" y="597"/>
                </a:lnTo>
                <a:lnTo>
                  <a:pt x="150" y="563"/>
                </a:lnTo>
                <a:lnTo>
                  <a:pt x="188" y="524"/>
                </a:lnTo>
                <a:lnTo>
                  <a:pt x="224" y="486"/>
                </a:lnTo>
                <a:lnTo>
                  <a:pt x="263" y="444"/>
                </a:lnTo>
                <a:lnTo>
                  <a:pt x="299" y="400"/>
                </a:lnTo>
                <a:lnTo>
                  <a:pt x="336" y="355"/>
                </a:lnTo>
                <a:lnTo>
                  <a:pt x="374" y="307"/>
                </a:lnTo>
                <a:lnTo>
                  <a:pt x="411" y="259"/>
                </a:lnTo>
                <a:lnTo>
                  <a:pt x="449" y="209"/>
                </a:lnTo>
                <a:lnTo>
                  <a:pt x="524" y="108"/>
                </a:lnTo>
                <a:lnTo>
                  <a:pt x="599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96" name="Freeform 28">
            <a:extLst>
              <a:ext uri="{FF2B5EF4-FFF2-40B4-BE49-F238E27FC236}">
                <a16:creationId xmlns:a16="http://schemas.microsoft.com/office/drawing/2014/main" id="{A3163E04-A5A1-EE41-B460-D37C90E94621}"/>
              </a:ext>
            </a:extLst>
          </p:cNvPr>
          <p:cNvSpPr>
            <a:spLocks/>
          </p:cNvSpPr>
          <p:nvPr/>
        </p:nvSpPr>
        <p:spPr bwMode="auto">
          <a:xfrm>
            <a:off x="3714750" y="3757613"/>
            <a:ext cx="493713" cy="838200"/>
          </a:xfrm>
          <a:custGeom>
            <a:avLst/>
            <a:gdLst>
              <a:gd name="T0" fmla="*/ 0 w 601"/>
              <a:gd name="T1" fmla="*/ 1054 h 1054"/>
              <a:gd name="T2" fmla="*/ 38 w 601"/>
              <a:gd name="T3" fmla="*/ 997 h 1054"/>
              <a:gd name="T4" fmla="*/ 75 w 601"/>
              <a:gd name="T5" fmla="*/ 937 h 1054"/>
              <a:gd name="T6" fmla="*/ 113 w 601"/>
              <a:gd name="T7" fmla="*/ 874 h 1054"/>
              <a:gd name="T8" fmla="*/ 150 w 601"/>
              <a:gd name="T9" fmla="*/ 806 h 1054"/>
              <a:gd name="T10" fmla="*/ 188 w 601"/>
              <a:gd name="T11" fmla="*/ 737 h 1054"/>
              <a:gd name="T12" fmla="*/ 224 w 601"/>
              <a:gd name="T13" fmla="*/ 668 h 1054"/>
              <a:gd name="T14" fmla="*/ 299 w 601"/>
              <a:gd name="T15" fmla="*/ 524 h 1054"/>
              <a:gd name="T16" fmla="*/ 376 w 601"/>
              <a:gd name="T17" fmla="*/ 382 h 1054"/>
              <a:gd name="T18" fmla="*/ 413 w 601"/>
              <a:gd name="T19" fmla="*/ 313 h 1054"/>
              <a:gd name="T20" fmla="*/ 451 w 601"/>
              <a:gd name="T21" fmla="*/ 244 h 1054"/>
              <a:gd name="T22" fmla="*/ 487 w 601"/>
              <a:gd name="T23" fmla="*/ 179 h 1054"/>
              <a:gd name="T24" fmla="*/ 526 w 601"/>
              <a:gd name="T25" fmla="*/ 115 h 1054"/>
              <a:gd name="T26" fmla="*/ 562 w 601"/>
              <a:gd name="T27" fmla="*/ 56 h 1054"/>
              <a:gd name="T28" fmla="*/ 601 w 601"/>
              <a:gd name="T29" fmla="*/ 0 h 10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01" h="1054">
                <a:moveTo>
                  <a:pt x="0" y="1054"/>
                </a:moveTo>
                <a:lnTo>
                  <a:pt x="38" y="997"/>
                </a:lnTo>
                <a:lnTo>
                  <a:pt x="75" y="937"/>
                </a:lnTo>
                <a:lnTo>
                  <a:pt x="113" y="874"/>
                </a:lnTo>
                <a:lnTo>
                  <a:pt x="150" y="806"/>
                </a:lnTo>
                <a:lnTo>
                  <a:pt x="188" y="737"/>
                </a:lnTo>
                <a:lnTo>
                  <a:pt x="224" y="668"/>
                </a:lnTo>
                <a:lnTo>
                  <a:pt x="299" y="524"/>
                </a:lnTo>
                <a:lnTo>
                  <a:pt x="376" y="382"/>
                </a:lnTo>
                <a:lnTo>
                  <a:pt x="413" y="313"/>
                </a:lnTo>
                <a:lnTo>
                  <a:pt x="451" y="244"/>
                </a:lnTo>
                <a:lnTo>
                  <a:pt x="487" y="179"/>
                </a:lnTo>
                <a:lnTo>
                  <a:pt x="526" y="115"/>
                </a:lnTo>
                <a:lnTo>
                  <a:pt x="562" y="56"/>
                </a:lnTo>
                <a:lnTo>
                  <a:pt x="601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97" name="Freeform 29">
            <a:extLst>
              <a:ext uri="{FF2B5EF4-FFF2-40B4-BE49-F238E27FC236}">
                <a16:creationId xmlns:a16="http://schemas.microsoft.com/office/drawing/2014/main" id="{57C53264-21FD-A948-AA3F-22A4E87BA0B3}"/>
              </a:ext>
            </a:extLst>
          </p:cNvPr>
          <p:cNvSpPr>
            <a:spLocks/>
          </p:cNvSpPr>
          <p:nvPr/>
        </p:nvSpPr>
        <p:spPr bwMode="auto">
          <a:xfrm>
            <a:off x="4208463" y="3236913"/>
            <a:ext cx="490537" cy="520700"/>
          </a:xfrm>
          <a:custGeom>
            <a:avLst/>
            <a:gdLst>
              <a:gd name="T0" fmla="*/ 0 w 601"/>
              <a:gd name="T1" fmla="*/ 657 h 657"/>
              <a:gd name="T2" fmla="*/ 38 w 601"/>
              <a:gd name="T3" fmla="*/ 603 h 657"/>
              <a:gd name="T4" fmla="*/ 75 w 601"/>
              <a:gd name="T5" fmla="*/ 546 h 657"/>
              <a:gd name="T6" fmla="*/ 149 w 601"/>
              <a:gd name="T7" fmla="*/ 430 h 657"/>
              <a:gd name="T8" fmla="*/ 188 w 601"/>
              <a:gd name="T9" fmla="*/ 375 h 657"/>
              <a:gd name="T10" fmla="*/ 224 w 601"/>
              <a:gd name="T11" fmla="*/ 319 h 657"/>
              <a:gd name="T12" fmla="*/ 263 w 601"/>
              <a:gd name="T13" fmla="*/ 265 h 657"/>
              <a:gd name="T14" fmla="*/ 301 w 601"/>
              <a:gd name="T15" fmla="*/ 213 h 657"/>
              <a:gd name="T16" fmla="*/ 338 w 601"/>
              <a:gd name="T17" fmla="*/ 167 h 657"/>
              <a:gd name="T18" fmla="*/ 376 w 601"/>
              <a:gd name="T19" fmla="*/ 123 h 657"/>
              <a:gd name="T20" fmla="*/ 393 w 601"/>
              <a:gd name="T21" fmla="*/ 104 h 657"/>
              <a:gd name="T22" fmla="*/ 413 w 601"/>
              <a:gd name="T23" fmla="*/ 87 h 657"/>
              <a:gd name="T24" fmla="*/ 432 w 601"/>
              <a:gd name="T25" fmla="*/ 69 h 657"/>
              <a:gd name="T26" fmla="*/ 451 w 601"/>
              <a:gd name="T27" fmla="*/ 54 h 657"/>
              <a:gd name="T28" fmla="*/ 470 w 601"/>
              <a:gd name="T29" fmla="*/ 41 h 657"/>
              <a:gd name="T30" fmla="*/ 487 w 601"/>
              <a:gd name="T31" fmla="*/ 29 h 657"/>
              <a:gd name="T32" fmla="*/ 507 w 601"/>
              <a:gd name="T33" fmla="*/ 19 h 657"/>
              <a:gd name="T34" fmla="*/ 526 w 601"/>
              <a:gd name="T35" fmla="*/ 12 h 657"/>
              <a:gd name="T36" fmla="*/ 545 w 601"/>
              <a:gd name="T37" fmla="*/ 4 h 657"/>
              <a:gd name="T38" fmla="*/ 562 w 601"/>
              <a:gd name="T39" fmla="*/ 0 h 657"/>
              <a:gd name="T40" fmla="*/ 581 w 601"/>
              <a:gd name="T41" fmla="*/ 0 h 657"/>
              <a:gd name="T42" fmla="*/ 601 w 601"/>
              <a:gd name="T43" fmla="*/ 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01" h="657">
                <a:moveTo>
                  <a:pt x="0" y="657"/>
                </a:moveTo>
                <a:lnTo>
                  <a:pt x="38" y="603"/>
                </a:lnTo>
                <a:lnTo>
                  <a:pt x="75" y="546"/>
                </a:lnTo>
                <a:lnTo>
                  <a:pt x="149" y="430"/>
                </a:lnTo>
                <a:lnTo>
                  <a:pt x="188" y="375"/>
                </a:lnTo>
                <a:lnTo>
                  <a:pt x="224" y="319"/>
                </a:lnTo>
                <a:lnTo>
                  <a:pt x="263" y="265"/>
                </a:lnTo>
                <a:lnTo>
                  <a:pt x="301" y="213"/>
                </a:lnTo>
                <a:lnTo>
                  <a:pt x="338" y="167"/>
                </a:lnTo>
                <a:lnTo>
                  <a:pt x="376" y="123"/>
                </a:lnTo>
                <a:lnTo>
                  <a:pt x="393" y="104"/>
                </a:lnTo>
                <a:lnTo>
                  <a:pt x="413" y="87"/>
                </a:lnTo>
                <a:lnTo>
                  <a:pt x="432" y="69"/>
                </a:lnTo>
                <a:lnTo>
                  <a:pt x="451" y="54"/>
                </a:lnTo>
                <a:lnTo>
                  <a:pt x="470" y="41"/>
                </a:lnTo>
                <a:lnTo>
                  <a:pt x="487" y="29"/>
                </a:lnTo>
                <a:lnTo>
                  <a:pt x="507" y="19"/>
                </a:lnTo>
                <a:lnTo>
                  <a:pt x="526" y="12"/>
                </a:lnTo>
                <a:lnTo>
                  <a:pt x="545" y="4"/>
                </a:lnTo>
                <a:lnTo>
                  <a:pt x="562" y="0"/>
                </a:lnTo>
                <a:lnTo>
                  <a:pt x="581" y="0"/>
                </a:lnTo>
                <a:lnTo>
                  <a:pt x="601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98" name="Freeform 30">
            <a:extLst>
              <a:ext uri="{FF2B5EF4-FFF2-40B4-BE49-F238E27FC236}">
                <a16:creationId xmlns:a16="http://schemas.microsoft.com/office/drawing/2014/main" id="{3A711DD8-851F-D048-B456-2CFAAF6D1D79}"/>
              </a:ext>
            </a:extLst>
          </p:cNvPr>
          <p:cNvSpPr>
            <a:spLocks/>
          </p:cNvSpPr>
          <p:nvPr/>
        </p:nvSpPr>
        <p:spPr bwMode="auto">
          <a:xfrm>
            <a:off x="4699000" y="3236913"/>
            <a:ext cx="492125" cy="617537"/>
          </a:xfrm>
          <a:custGeom>
            <a:avLst/>
            <a:gdLst>
              <a:gd name="T0" fmla="*/ 0 w 599"/>
              <a:gd name="T1" fmla="*/ 0 h 778"/>
              <a:gd name="T2" fmla="*/ 19 w 599"/>
              <a:gd name="T3" fmla="*/ 4 h 778"/>
              <a:gd name="T4" fmla="*/ 38 w 599"/>
              <a:gd name="T5" fmla="*/ 8 h 778"/>
              <a:gd name="T6" fmla="*/ 55 w 599"/>
              <a:gd name="T7" fmla="*/ 16 h 778"/>
              <a:gd name="T8" fmla="*/ 75 w 599"/>
              <a:gd name="T9" fmla="*/ 25 h 778"/>
              <a:gd name="T10" fmla="*/ 94 w 599"/>
              <a:gd name="T11" fmla="*/ 37 h 778"/>
              <a:gd name="T12" fmla="*/ 113 w 599"/>
              <a:gd name="T13" fmla="*/ 50 h 778"/>
              <a:gd name="T14" fmla="*/ 130 w 599"/>
              <a:gd name="T15" fmla="*/ 66 h 778"/>
              <a:gd name="T16" fmla="*/ 149 w 599"/>
              <a:gd name="T17" fmla="*/ 81 h 778"/>
              <a:gd name="T18" fmla="*/ 169 w 599"/>
              <a:gd name="T19" fmla="*/ 100 h 778"/>
              <a:gd name="T20" fmla="*/ 188 w 599"/>
              <a:gd name="T21" fmla="*/ 119 h 778"/>
              <a:gd name="T22" fmla="*/ 205 w 599"/>
              <a:gd name="T23" fmla="*/ 140 h 778"/>
              <a:gd name="T24" fmla="*/ 224 w 599"/>
              <a:gd name="T25" fmla="*/ 163 h 778"/>
              <a:gd name="T26" fmla="*/ 263 w 599"/>
              <a:gd name="T27" fmla="*/ 213 h 778"/>
              <a:gd name="T28" fmla="*/ 299 w 599"/>
              <a:gd name="T29" fmla="*/ 267 h 778"/>
              <a:gd name="T30" fmla="*/ 336 w 599"/>
              <a:gd name="T31" fmla="*/ 325 h 778"/>
              <a:gd name="T32" fmla="*/ 374 w 599"/>
              <a:gd name="T33" fmla="*/ 384 h 778"/>
              <a:gd name="T34" fmla="*/ 411 w 599"/>
              <a:gd name="T35" fmla="*/ 448 h 778"/>
              <a:gd name="T36" fmla="*/ 449 w 599"/>
              <a:gd name="T37" fmla="*/ 513 h 778"/>
              <a:gd name="T38" fmla="*/ 524 w 599"/>
              <a:gd name="T39" fmla="*/ 645 h 778"/>
              <a:gd name="T40" fmla="*/ 560 w 599"/>
              <a:gd name="T41" fmla="*/ 713 h 778"/>
              <a:gd name="T42" fmla="*/ 599 w 599"/>
              <a:gd name="T43" fmla="*/ 778 h 7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99" h="778">
                <a:moveTo>
                  <a:pt x="0" y="0"/>
                </a:moveTo>
                <a:lnTo>
                  <a:pt x="19" y="4"/>
                </a:lnTo>
                <a:lnTo>
                  <a:pt x="38" y="8"/>
                </a:lnTo>
                <a:lnTo>
                  <a:pt x="55" y="16"/>
                </a:lnTo>
                <a:lnTo>
                  <a:pt x="75" y="25"/>
                </a:lnTo>
                <a:lnTo>
                  <a:pt x="94" y="37"/>
                </a:lnTo>
                <a:lnTo>
                  <a:pt x="113" y="50"/>
                </a:lnTo>
                <a:lnTo>
                  <a:pt x="130" y="66"/>
                </a:lnTo>
                <a:lnTo>
                  <a:pt x="149" y="81"/>
                </a:lnTo>
                <a:lnTo>
                  <a:pt x="169" y="100"/>
                </a:lnTo>
                <a:lnTo>
                  <a:pt x="188" y="119"/>
                </a:lnTo>
                <a:lnTo>
                  <a:pt x="205" y="140"/>
                </a:lnTo>
                <a:lnTo>
                  <a:pt x="224" y="163"/>
                </a:lnTo>
                <a:lnTo>
                  <a:pt x="263" y="213"/>
                </a:lnTo>
                <a:lnTo>
                  <a:pt x="299" y="267"/>
                </a:lnTo>
                <a:lnTo>
                  <a:pt x="336" y="325"/>
                </a:lnTo>
                <a:lnTo>
                  <a:pt x="374" y="384"/>
                </a:lnTo>
                <a:lnTo>
                  <a:pt x="411" y="448"/>
                </a:lnTo>
                <a:lnTo>
                  <a:pt x="449" y="513"/>
                </a:lnTo>
                <a:lnTo>
                  <a:pt x="524" y="645"/>
                </a:lnTo>
                <a:lnTo>
                  <a:pt x="560" y="713"/>
                </a:lnTo>
                <a:lnTo>
                  <a:pt x="599" y="778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99" name="Freeform 31">
            <a:extLst>
              <a:ext uri="{FF2B5EF4-FFF2-40B4-BE49-F238E27FC236}">
                <a16:creationId xmlns:a16="http://schemas.microsoft.com/office/drawing/2014/main" id="{74D294A0-855A-4E4F-BAEE-AB7CD0791B7A}"/>
              </a:ext>
            </a:extLst>
          </p:cNvPr>
          <p:cNvSpPr>
            <a:spLocks/>
          </p:cNvSpPr>
          <p:nvPr/>
        </p:nvSpPr>
        <p:spPr bwMode="auto">
          <a:xfrm>
            <a:off x="5191125" y="3854450"/>
            <a:ext cx="492125" cy="1030288"/>
          </a:xfrm>
          <a:custGeom>
            <a:avLst/>
            <a:gdLst>
              <a:gd name="T0" fmla="*/ 0 w 601"/>
              <a:gd name="T1" fmla="*/ 0 h 1298"/>
              <a:gd name="T2" fmla="*/ 19 w 601"/>
              <a:gd name="T3" fmla="*/ 33 h 1298"/>
              <a:gd name="T4" fmla="*/ 38 w 601"/>
              <a:gd name="T5" fmla="*/ 69 h 1298"/>
              <a:gd name="T6" fmla="*/ 55 w 601"/>
              <a:gd name="T7" fmla="*/ 106 h 1298"/>
              <a:gd name="T8" fmla="*/ 75 w 601"/>
              <a:gd name="T9" fmla="*/ 142 h 1298"/>
              <a:gd name="T10" fmla="*/ 113 w 601"/>
              <a:gd name="T11" fmla="*/ 223 h 1298"/>
              <a:gd name="T12" fmla="*/ 149 w 601"/>
              <a:gd name="T13" fmla="*/ 307 h 1298"/>
              <a:gd name="T14" fmla="*/ 188 w 601"/>
              <a:gd name="T15" fmla="*/ 394 h 1298"/>
              <a:gd name="T16" fmla="*/ 224 w 601"/>
              <a:gd name="T17" fmla="*/ 484 h 1298"/>
              <a:gd name="T18" fmla="*/ 299 w 601"/>
              <a:gd name="T19" fmla="*/ 666 h 1298"/>
              <a:gd name="T20" fmla="*/ 338 w 601"/>
              <a:gd name="T21" fmla="*/ 758 h 1298"/>
              <a:gd name="T22" fmla="*/ 376 w 601"/>
              <a:gd name="T23" fmla="*/ 847 h 1298"/>
              <a:gd name="T24" fmla="*/ 412 w 601"/>
              <a:gd name="T25" fmla="*/ 935 h 1298"/>
              <a:gd name="T26" fmla="*/ 451 w 601"/>
              <a:gd name="T27" fmla="*/ 1018 h 1298"/>
              <a:gd name="T28" fmla="*/ 487 w 601"/>
              <a:gd name="T29" fmla="*/ 1096 h 1298"/>
              <a:gd name="T30" fmla="*/ 507 w 601"/>
              <a:gd name="T31" fmla="*/ 1135 h 1298"/>
              <a:gd name="T32" fmla="*/ 526 w 601"/>
              <a:gd name="T33" fmla="*/ 1171 h 1298"/>
              <a:gd name="T34" fmla="*/ 545 w 601"/>
              <a:gd name="T35" fmla="*/ 1206 h 1298"/>
              <a:gd name="T36" fmla="*/ 562 w 601"/>
              <a:gd name="T37" fmla="*/ 1238 h 1298"/>
              <a:gd name="T38" fmla="*/ 581 w 601"/>
              <a:gd name="T39" fmla="*/ 1269 h 1298"/>
              <a:gd name="T40" fmla="*/ 601 w 601"/>
              <a:gd name="T41" fmla="*/ 1298 h 1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601" h="1298">
                <a:moveTo>
                  <a:pt x="0" y="0"/>
                </a:moveTo>
                <a:lnTo>
                  <a:pt x="19" y="33"/>
                </a:lnTo>
                <a:lnTo>
                  <a:pt x="38" y="69"/>
                </a:lnTo>
                <a:lnTo>
                  <a:pt x="55" y="106"/>
                </a:lnTo>
                <a:lnTo>
                  <a:pt x="75" y="142"/>
                </a:lnTo>
                <a:lnTo>
                  <a:pt x="113" y="223"/>
                </a:lnTo>
                <a:lnTo>
                  <a:pt x="149" y="307"/>
                </a:lnTo>
                <a:lnTo>
                  <a:pt x="188" y="394"/>
                </a:lnTo>
                <a:lnTo>
                  <a:pt x="224" y="484"/>
                </a:lnTo>
                <a:lnTo>
                  <a:pt x="299" y="666"/>
                </a:lnTo>
                <a:lnTo>
                  <a:pt x="338" y="758"/>
                </a:lnTo>
                <a:lnTo>
                  <a:pt x="376" y="847"/>
                </a:lnTo>
                <a:lnTo>
                  <a:pt x="412" y="935"/>
                </a:lnTo>
                <a:lnTo>
                  <a:pt x="451" y="1018"/>
                </a:lnTo>
                <a:lnTo>
                  <a:pt x="487" y="1096"/>
                </a:lnTo>
                <a:lnTo>
                  <a:pt x="507" y="1135"/>
                </a:lnTo>
                <a:lnTo>
                  <a:pt x="526" y="1171"/>
                </a:lnTo>
                <a:lnTo>
                  <a:pt x="545" y="1206"/>
                </a:lnTo>
                <a:lnTo>
                  <a:pt x="562" y="1238"/>
                </a:lnTo>
                <a:lnTo>
                  <a:pt x="581" y="1269"/>
                </a:lnTo>
                <a:lnTo>
                  <a:pt x="601" y="1298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00" name="Freeform 32">
            <a:extLst>
              <a:ext uri="{FF2B5EF4-FFF2-40B4-BE49-F238E27FC236}">
                <a16:creationId xmlns:a16="http://schemas.microsoft.com/office/drawing/2014/main" id="{BC74F1C4-B8D3-0B4A-B7C3-BE15725C3600}"/>
              </a:ext>
            </a:extLst>
          </p:cNvPr>
          <p:cNvSpPr>
            <a:spLocks/>
          </p:cNvSpPr>
          <p:nvPr/>
        </p:nvSpPr>
        <p:spPr bwMode="auto">
          <a:xfrm>
            <a:off x="5683250" y="4884738"/>
            <a:ext cx="490538" cy="393700"/>
          </a:xfrm>
          <a:custGeom>
            <a:avLst/>
            <a:gdLst>
              <a:gd name="T0" fmla="*/ 0 w 599"/>
              <a:gd name="T1" fmla="*/ 0 h 495"/>
              <a:gd name="T2" fmla="*/ 38 w 599"/>
              <a:gd name="T3" fmla="*/ 54 h 495"/>
              <a:gd name="T4" fmla="*/ 74 w 599"/>
              <a:gd name="T5" fmla="*/ 104 h 495"/>
              <a:gd name="T6" fmla="*/ 113 w 599"/>
              <a:gd name="T7" fmla="*/ 150 h 495"/>
              <a:gd name="T8" fmla="*/ 149 w 599"/>
              <a:gd name="T9" fmla="*/ 190 h 495"/>
              <a:gd name="T10" fmla="*/ 188 w 599"/>
              <a:gd name="T11" fmla="*/ 228 h 495"/>
              <a:gd name="T12" fmla="*/ 224 w 599"/>
              <a:gd name="T13" fmla="*/ 265 h 495"/>
              <a:gd name="T14" fmla="*/ 263 w 599"/>
              <a:gd name="T15" fmla="*/ 296 h 495"/>
              <a:gd name="T16" fmla="*/ 299 w 599"/>
              <a:gd name="T17" fmla="*/ 326 h 495"/>
              <a:gd name="T18" fmla="*/ 336 w 599"/>
              <a:gd name="T19" fmla="*/ 353 h 495"/>
              <a:gd name="T20" fmla="*/ 374 w 599"/>
              <a:gd name="T21" fmla="*/ 378 h 495"/>
              <a:gd name="T22" fmla="*/ 410 w 599"/>
              <a:gd name="T23" fmla="*/ 401 h 495"/>
              <a:gd name="T24" fmla="*/ 449 w 599"/>
              <a:gd name="T25" fmla="*/ 422 h 495"/>
              <a:gd name="T26" fmla="*/ 524 w 599"/>
              <a:gd name="T27" fmla="*/ 461 h 495"/>
              <a:gd name="T28" fmla="*/ 599 w 599"/>
              <a:gd name="T29" fmla="*/ 495 h 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99" h="495">
                <a:moveTo>
                  <a:pt x="0" y="0"/>
                </a:moveTo>
                <a:lnTo>
                  <a:pt x="38" y="54"/>
                </a:lnTo>
                <a:lnTo>
                  <a:pt x="74" y="104"/>
                </a:lnTo>
                <a:lnTo>
                  <a:pt x="113" y="150"/>
                </a:lnTo>
                <a:lnTo>
                  <a:pt x="149" y="190"/>
                </a:lnTo>
                <a:lnTo>
                  <a:pt x="188" y="228"/>
                </a:lnTo>
                <a:lnTo>
                  <a:pt x="224" y="265"/>
                </a:lnTo>
                <a:lnTo>
                  <a:pt x="263" y="296"/>
                </a:lnTo>
                <a:lnTo>
                  <a:pt x="299" y="326"/>
                </a:lnTo>
                <a:lnTo>
                  <a:pt x="336" y="353"/>
                </a:lnTo>
                <a:lnTo>
                  <a:pt x="374" y="378"/>
                </a:lnTo>
                <a:lnTo>
                  <a:pt x="410" y="401"/>
                </a:lnTo>
                <a:lnTo>
                  <a:pt x="449" y="422"/>
                </a:lnTo>
                <a:lnTo>
                  <a:pt x="524" y="461"/>
                </a:lnTo>
                <a:lnTo>
                  <a:pt x="599" y="495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01" name="Freeform 33">
            <a:extLst>
              <a:ext uri="{FF2B5EF4-FFF2-40B4-BE49-F238E27FC236}">
                <a16:creationId xmlns:a16="http://schemas.microsoft.com/office/drawing/2014/main" id="{A6AA3E16-4903-3144-9355-4351469B8604}"/>
              </a:ext>
            </a:extLst>
          </p:cNvPr>
          <p:cNvSpPr>
            <a:spLocks/>
          </p:cNvSpPr>
          <p:nvPr/>
        </p:nvSpPr>
        <p:spPr bwMode="auto">
          <a:xfrm>
            <a:off x="6173788" y="5278438"/>
            <a:ext cx="490537" cy="39687"/>
          </a:xfrm>
          <a:custGeom>
            <a:avLst/>
            <a:gdLst>
              <a:gd name="T0" fmla="*/ 0 w 601"/>
              <a:gd name="T1" fmla="*/ 0 h 50"/>
              <a:gd name="T2" fmla="*/ 38 w 601"/>
              <a:gd name="T3" fmla="*/ 16 h 50"/>
              <a:gd name="T4" fmla="*/ 74 w 601"/>
              <a:gd name="T5" fmla="*/ 27 h 50"/>
              <a:gd name="T6" fmla="*/ 113 w 601"/>
              <a:gd name="T7" fmla="*/ 37 h 50"/>
              <a:gd name="T8" fmla="*/ 149 w 601"/>
              <a:gd name="T9" fmla="*/ 43 h 50"/>
              <a:gd name="T10" fmla="*/ 188 w 601"/>
              <a:gd name="T11" fmla="*/ 48 h 50"/>
              <a:gd name="T12" fmla="*/ 224 w 601"/>
              <a:gd name="T13" fmla="*/ 50 h 50"/>
              <a:gd name="T14" fmla="*/ 263 w 601"/>
              <a:gd name="T15" fmla="*/ 50 h 50"/>
              <a:gd name="T16" fmla="*/ 299 w 601"/>
              <a:gd name="T17" fmla="*/ 50 h 50"/>
              <a:gd name="T18" fmla="*/ 376 w 601"/>
              <a:gd name="T19" fmla="*/ 48 h 50"/>
              <a:gd name="T20" fmla="*/ 451 w 601"/>
              <a:gd name="T21" fmla="*/ 45 h 50"/>
              <a:gd name="T22" fmla="*/ 526 w 601"/>
              <a:gd name="T23" fmla="*/ 43 h 50"/>
              <a:gd name="T24" fmla="*/ 562 w 601"/>
              <a:gd name="T25" fmla="*/ 43 h 50"/>
              <a:gd name="T26" fmla="*/ 601 w 601"/>
              <a:gd name="T27" fmla="*/ 45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01" h="50">
                <a:moveTo>
                  <a:pt x="0" y="0"/>
                </a:moveTo>
                <a:lnTo>
                  <a:pt x="38" y="16"/>
                </a:lnTo>
                <a:lnTo>
                  <a:pt x="74" y="27"/>
                </a:lnTo>
                <a:lnTo>
                  <a:pt x="113" y="37"/>
                </a:lnTo>
                <a:lnTo>
                  <a:pt x="149" y="43"/>
                </a:lnTo>
                <a:lnTo>
                  <a:pt x="188" y="48"/>
                </a:lnTo>
                <a:lnTo>
                  <a:pt x="224" y="50"/>
                </a:lnTo>
                <a:lnTo>
                  <a:pt x="263" y="50"/>
                </a:lnTo>
                <a:lnTo>
                  <a:pt x="299" y="50"/>
                </a:lnTo>
                <a:lnTo>
                  <a:pt x="376" y="48"/>
                </a:lnTo>
                <a:lnTo>
                  <a:pt x="451" y="45"/>
                </a:lnTo>
                <a:lnTo>
                  <a:pt x="526" y="43"/>
                </a:lnTo>
                <a:lnTo>
                  <a:pt x="562" y="43"/>
                </a:lnTo>
                <a:lnTo>
                  <a:pt x="601" y="45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02" name="Freeform 34">
            <a:extLst>
              <a:ext uri="{FF2B5EF4-FFF2-40B4-BE49-F238E27FC236}">
                <a16:creationId xmlns:a16="http://schemas.microsoft.com/office/drawing/2014/main" id="{06883C14-42BA-A942-AAD0-D11778888EC8}"/>
              </a:ext>
            </a:extLst>
          </p:cNvPr>
          <p:cNvSpPr>
            <a:spLocks/>
          </p:cNvSpPr>
          <p:nvPr/>
        </p:nvSpPr>
        <p:spPr bwMode="auto">
          <a:xfrm>
            <a:off x="2733675" y="5308600"/>
            <a:ext cx="492125" cy="11113"/>
          </a:xfrm>
          <a:custGeom>
            <a:avLst/>
            <a:gdLst>
              <a:gd name="T0" fmla="*/ 0 w 601"/>
              <a:gd name="T1" fmla="*/ 11 h 13"/>
              <a:gd name="T2" fmla="*/ 75 w 601"/>
              <a:gd name="T3" fmla="*/ 11 h 13"/>
              <a:gd name="T4" fmla="*/ 150 w 601"/>
              <a:gd name="T5" fmla="*/ 11 h 13"/>
              <a:gd name="T6" fmla="*/ 301 w 601"/>
              <a:gd name="T7" fmla="*/ 13 h 13"/>
              <a:gd name="T8" fmla="*/ 376 w 601"/>
              <a:gd name="T9" fmla="*/ 13 h 13"/>
              <a:gd name="T10" fmla="*/ 451 w 601"/>
              <a:gd name="T11" fmla="*/ 11 h 13"/>
              <a:gd name="T12" fmla="*/ 526 w 601"/>
              <a:gd name="T13" fmla="*/ 7 h 13"/>
              <a:gd name="T14" fmla="*/ 601 w 601"/>
              <a:gd name="T15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01" h="13">
                <a:moveTo>
                  <a:pt x="0" y="11"/>
                </a:moveTo>
                <a:lnTo>
                  <a:pt x="75" y="11"/>
                </a:lnTo>
                <a:lnTo>
                  <a:pt x="150" y="11"/>
                </a:lnTo>
                <a:lnTo>
                  <a:pt x="301" y="13"/>
                </a:lnTo>
                <a:lnTo>
                  <a:pt x="376" y="13"/>
                </a:lnTo>
                <a:lnTo>
                  <a:pt x="451" y="11"/>
                </a:lnTo>
                <a:lnTo>
                  <a:pt x="526" y="7"/>
                </a:lnTo>
                <a:lnTo>
                  <a:pt x="601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03" name="Freeform 35">
            <a:extLst>
              <a:ext uri="{FF2B5EF4-FFF2-40B4-BE49-F238E27FC236}">
                <a16:creationId xmlns:a16="http://schemas.microsoft.com/office/drawing/2014/main" id="{011AB68F-F4A4-8F4C-9429-D654AD2470B4}"/>
              </a:ext>
            </a:extLst>
          </p:cNvPr>
          <p:cNvSpPr>
            <a:spLocks/>
          </p:cNvSpPr>
          <p:nvPr/>
        </p:nvSpPr>
        <p:spPr bwMode="auto">
          <a:xfrm>
            <a:off x="3225800" y="5194300"/>
            <a:ext cx="488950" cy="114300"/>
          </a:xfrm>
          <a:custGeom>
            <a:avLst/>
            <a:gdLst>
              <a:gd name="T0" fmla="*/ 0 w 599"/>
              <a:gd name="T1" fmla="*/ 144 h 144"/>
              <a:gd name="T2" fmla="*/ 75 w 599"/>
              <a:gd name="T3" fmla="*/ 134 h 144"/>
              <a:gd name="T4" fmla="*/ 150 w 599"/>
              <a:gd name="T5" fmla="*/ 127 h 144"/>
              <a:gd name="T6" fmla="*/ 224 w 599"/>
              <a:gd name="T7" fmla="*/ 117 h 144"/>
              <a:gd name="T8" fmla="*/ 299 w 599"/>
              <a:gd name="T9" fmla="*/ 105 h 144"/>
              <a:gd name="T10" fmla="*/ 336 w 599"/>
              <a:gd name="T11" fmla="*/ 98 h 144"/>
              <a:gd name="T12" fmla="*/ 374 w 599"/>
              <a:gd name="T13" fmla="*/ 90 h 144"/>
              <a:gd name="T14" fmla="*/ 411 w 599"/>
              <a:gd name="T15" fmla="*/ 78 h 144"/>
              <a:gd name="T16" fmla="*/ 449 w 599"/>
              <a:gd name="T17" fmla="*/ 67 h 144"/>
              <a:gd name="T18" fmla="*/ 486 w 599"/>
              <a:gd name="T19" fmla="*/ 54 h 144"/>
              <a:gd name="T20" fmla="*/ 524 w 599"/>
              <a:gd name="T21" fmla="*/ 38 h 144"/>
              <a:gd name="T22" fmla="*/ 560 w 599"/>
              <a:gd name="T23" fmla="*/ 21 h 144"/>
              <a:gd name="T24" fmla="*/ 599 w 599"/>
              <a:gd name="T25" fmla="*/ 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99" h="144">
                <a:moveTo>
                  <a:pt x="0" y="144"/>
                </a:moveTo>
                <a:lnTo>
                  <a:pt x="75" y="134"/>
                </a:lnTo>
                <a:lnTo>
                  <a:pt x="150" y="127"/>
                </a:lnTo>
                <a:lnTo>
                  <a:pt x="224" y="117"/>
                </a:lnTo>
                <a:lnTo>
                  <a:pt x="299" y="105"/>
                </a:lnTo>
                <a:lnTo>
                  <a:pt x="336" y="98"/>
                </a:lnTo>
                <a:lnTo>
                  <a:pt x="374" y="90"/>
                </a:lnTo>
                <a:lnTo>
                  <a:pt x="411" y="78"/>
                </a:lnTo>
                <a:lnTo>
                  <a:pt x="449" y="67"/>
                </a:lnTo>
                <a:lnTo>
                  <a:pt x="486" y="54"/>
                </a:lnTo>
                <a:lnTo>
                  <a:pt x="524" y="38"/>
                </a:lnTo>
                <a:lnTo>
                  <a:pt x="560" y="21"/>
                </a:lnTo>
                <a:lnTo>
                  <a:pt x="599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04" name="Freeform 36">
            <a:extLst>
              <a:ext uri="{FF2B5EF4-FFF2-40B4-BE49-F238E27FC236}">
                <a16:creationId xmlns:a16="http://schemas.microsoft.com/office/drawing/2014/main" id="{ADEEC998-7901-B346-9565-E3428890746E}"/>
              </a:ext>
            </a:extLst>
          </p:cNvPr>
          <p:cNvSpPr>
            <a:spLocks/>
          </p:cNvSpPr>
          <p:nvPr/>
        </p:nvSpPr>
        <p:spPr bwMode="auto">
          <a:xfrm>
            <a:off x="3714750" y="4754563"/>
            <a:ext cx="493713" cy="439737"/>
          </a:xfrm>
          <a:custGeom>
            <a:avLst/>
            <a:gdLst>
              <a:gd name="T0" fmla="*/ 0 w 601"/>
              <a:gd name="T1" fmla="*/ 553 h 553"/>
              <a:gd name="T2" fmla="*/ 75 w 601"/>
              <a:gd name="T3" fmla="*/ 509 h 553"/>
              <a:gd name="T4" fmla="*/ 150 w 601"/>
              <a:gd name="T5" fmla="*/ 464 h 553"/>
              <a:gd name="T6" fmla="*/ 188 w 601"/>
              <a:gd name="T7" fmla="*/ 439 h 553"/>
              <a:gd name="T8" fmla="*/ 224 w 601"/>
              <a:gd name="T9" fmla="*/ 415 h 553"/>
              <a:gd name="T10" fmla="*/ 263 w 601"/>
              <a:gd name="T11" fmla="*/ 388 h 553"/>
              <a:gd name="T12" fmla="*/ 299 w 601"/>
              <a:gd name="T13" fmla="*/ 357 h 553"/>
              <a:gd name="T14" fmla="*/ 338 w 601"/>
              <a:gd name="T15" fmla="*/ 326 h 553"/>
              <a:gd name="T16" fmla="*/ 376 w 601"/>
              <a:gd name="T17" fmla="*/ 292 h 553"/>
              <a:gd name="T18" fmla="*/ 413 w 601"/>
              <a:gd name="T19" fmla="*/ 253 h 553"/>
              <a:gd name="T20" fmla="*/ 451 w 601"/>
              <a:gd name="T21" fmla="*/ 211 h 553"/>
              <a:gd name="T22" fmla="*/ 487 w 601"/>
              <a:gd name="T23" fmla="*/ 165 h 553"/>
              <a:gd name="T24" fmla="*/ 526 w 601"/>
              <a:gd name="T25" fmla="*/ 115 h 553"/>
              <a:gd name="T26" fmla="*/ 562 w 601"/>
              <a:gd name="T27" fmla="*/ 59 h 553"/>
              <a:gd name="T28" fmla="*/ 601 w 601"/>
              <a:gd name="T29" fmla="*/ 0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01" h="553">
                <a:moveTo>
                  <a:pt x="0" y="553"/>
                </a:moveTo>
                <a:lnTo>
                  <a:pt x="75" y="509"/>
                </a:lnTo>
                <a:lnTo>
                  <a:pt x="150" y="464"/>
                </a:lnTo>
                <a:lnTo>
                  <a:pt x="188" y="439"/>
                </a:lnTo>
                <a:lnTo>
                  <a:pt x="224" y="415"/>
                </a:lnTo>
                <a:lnTo>
                  <a:pt x="263" y="388"/>
                </a:lnTo>
                <a:lnTo>
                  <a:pt x="299" y="357"/>
                </a:lnTo>
                <a:lnTo>
                  <a:pt x="338" y="326"/>
                </a:lnTo>
                <a:lnTo>
                  <a:pt x="376" y="292"/>
                </a:lnTo>
                <a:lnTo>
                  <a:pt x="413" y="253"/>
                </a:lnTo>
                <a:lnTo>
                  <a:pt x="451" y="211"/>
                </a:lnTo>
                <a:lnTo>
                  <a:pt x="487" y="165"/>
                </a:lnTo>
                <a:lnTo>
                  <a:pt x="526" y="115"/>
                </a:lnTo>
                <a:lnTo>
                  <a:pt x="562" y="59"/>
                </a:lnTo>
                <a:lnTo>
                  <a:pt x="601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05" name="Freeform 37">
            <a:extLst>
              <a:ext uri="{FF2B5EF4-FFF2-40B4-BE49-F238E27FC236}">
                <a16:creationId xmlns:a16="http://schemas.microsoft.com/office/drawing/2014/main" id="{22BEDCC6-ED5D-3447-8928-83B9B5FBB1F2}"/>
              </a:ext>
            </a:extLst>
          </p:cNvPr>
          <p:cNvSpPr>
            <a:spLocks/>
          </p:cNvSpPr>
          <p:nvPr/>
        </p:nvSpPr>
        <p:spPr bwMode="auto">
          <a:xfrm>
            <a:off x="4208463" y="3605213"/>
            <a:ext cx="490537" cy="1149350"/>
          </a:xfrm>
          <a:custGeom>
            <a:avLst/>
            <a:gdLst>
              <a:gd name="T0" fmla="*/ 0 w 601"/>
              <a:gd name="T1" fmla="*/ 1450 h 1450"/>
              <a:gd name="T2" fmla="*/ 19 w 601"/>
              <a:gd name="T3" fmla="*/ 1417 h 1450"/>
              <a:gd name="T4" fmla="*/ 38 w 601"/>
              <a:gd name="T5" fmla="*/ 1383 h 1450"/>
              <a:gd name="T6" fmla="*/ 55 w 601"/>
              <a:gd name="T7" fmla="*/ 1346 h 1450"/>
              <a:gd name="T8" fmla="*/ 75 w 601"/>
              <a:gd name="T9" fmla="*/ 1308 h 1450"/>
              <a:gd name="T10" fmla="*/ 94 w 601"/>
              <a:gd name="T11" fmla="*/ 1267 h 1450"/>
              <a:gd name="T12" fmla="*/ 113 w 601"/>
              <a:gd name="T13" fmla="*/ 1227 h 1450"/>
              <a:gd name="T14" fmla="*/ 130 w 601"/>
              <a:gd name="T15" fmla="*/ 1183 h 1450"/>
              <a:gd name="T16" fmla="*/ 149 w 601"/>
              <a:gd name="T17" fmla="*/ 1139 h 1450"/>
              <a:gd name="T18" fmla="*/ 188 w 601"/>
              <a:gd name="T19" fmla="*/ 1047 h 1450"/>
              <a:gd name="T20" fmla="*/ 224 w 601"/>
              <a:gd name="T21" fmla="*/ 949 h 1450"/>
              <a:gd name="T22" fmla="*/ 263 w 601"/>
              <a:gd name="T23" fmla="*/ 851 h 1450"/>
              <a:gd name="T24" fmla="*/ 301 w 601"/>
              <a:gd name="T25" fmla="*/ 749 h 1450"/>
              <a:gd name="T26" fmla="*/ 376 w 601"/>
              <a:gd name="T27" fmla="*/ 545 h 1450"/>
              <a:gd name="T28" fmla="*/ 413 w 601"/>
              <a:gd name="T29" fmla="*/ 446 h 1450"/>
              <a:gd name="T30" fmla="*/ 451 w 601"/>
              <a:gd name="T31" fmla="*/ 348 h 1450"/>
              <a:gd name="T32" fmla="*/ 487 w 601"/>
              <a:gd name="T33" fmla="*/ 253 h 1450"/>
              <a:gd name="T34" fmla="*/ 526 w 601"/>
              <a:gd name="T35" fmla="*/ 163 h 1450"/>
              <a:gd name="T36" fmla="*/ 545 w 601"/>
              <a:gd name="T37" fmla="*/ 119 h 1450"/>
              <a:gd name="T38" fmla="*/ 562 w 601"/>
              <a:gd name="T39" fmla="*/ 79 h 1450"/>
              <a:gd name="T40" fmla="*/ 581 w 601"/>
              <a:gd name="T41" fmla="*/ 38 h 1450"/>
              <a:gd name="T42" fmla="*/ 601 w 601"/>
              <a:gd name="T43" fmla="*/ 0 h 14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01" h="1450">
                <a:moveTo>
                  <a:pt x="0" y="1450"/>
                </a:moveTo>
                <a:lnTo>
                  <a:pt x="19" y="1417"/>
                </a:lnTo>
                <a:lnTo>
                  <a:pt x="38" y="1383"/>
                </a:lnTo>
                <a:lnTo>
                  <a:pt x="55" y="1346"/>
                </a:lnTo>
                <a:lnTo>
                  <a:pt x="75" y="1308"/>
                </a:lnTo>
                <a:lnTo>
                  <a:pt x="94" y="1267"/>
                </a:lnTo>
                <a:lnTo>
                  <a:pt x="113" y="1227"/>
                </a:lnTo>
                <a:lnTo>
                  <a:pt x="130" y="1183"/>
                </a:lnTo>
                <a:lnTo>
                  <a:pt x="149" y="1139"/>
                </a:lnTo>
                <a:lnTo>
                  <a:pt x="188" y="1047"/>
                </a:lnTo>
                <a:lnTo>
                  <a:pt x="224" y="949"/>
                </a:lnTo>
                <a:lnTo>
                  <a:pt x="263" y="851"/>
                </a:lnTo>
                <a:lnTo>
                  <a:pt x="301" y="749"/>
                </a:lnTo>
                <a:lnTo>
                  <a:pt x="376" y="545"/>
                </a:lnTo>
                <a:lnTo>
                  <a:pt x="413" y="446"/>
                </a:lnTo>
                <a:lnTo>
                  <a:pt x="451" y="348"/>
                </a:lnTo>
                <a:lnTo>
                  <a:pt x="487" y="253"/>
                </a:lnTo>
                <a:lnTo>
                  <a:pt x="526" y="163"/>
                </a:lnTo>
                <a:lnTo>
                  <a:pt x="545" y="119"/>
                </a:lnTo>
                <a:lnTo>
                  <a:pt x="562" y="79"/>
                </a:lnTo>
                <a:lnTo>
                  <a:pt x="581" y="38"/>
                </a:lnTo>
                <a:lnTo>
                  <a:pt x="601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06" name="Freeform 38">
            <a:extLst>
              <a:ext uri="{FF2B5EF4-FFF2-40B4-BE49-F238E27FC236}">
                <a16:creationId xmlns:a16="http://schemas.microsoft.com/office/drawing/2014/main" id="{96AD1D83-8AEF-1141-B377-0306D94DFB87}"/>
              </a:ext>
            </a:extLst>
          </p:cNvPr>
          <p:cNvSpPr>
            <a:spLocks/>
          </p:cNvSpPr>
          <p:nvPr/>
        </p:nvSpPr>
        <p:spPr bwMode="auto">
          <a:xfrm>
            <a:off x="4699000" y="2859088"/>
            <a:ext cx="492125" cy="746125"/>
          </a:xfrm>
          <a:custGeom>
            <a:avLst/>
            <a:gdLst>
              <a:gd name="T0" fmla="*/ 0 w 599"/>
              <a:gd name="T1" fmla="*/ 939 h 939"/>
              <a:gd name="T2" fmla="*/ 38 w 599"/>
              <a:gd name="T3" fmla="*/ 862 h 939"/>
              <a:gd name="T4" fmla="*/ 75 w 599"/>
              <a:gd name="T5" fmla="*/ 782 h 939"/>
              <a:gd name="T6" fmla="*/ 113 w 599"/>
              <a:gd name="T7" fmla="*/ 699 h 939"/>
              <a:gd name="T8" fmla="*/ 149 w 599"/>
              <a:gd name="T9" fmla="*/ 615 h 939"/>
              <a:gd name="T10" fmla="*/ 188 w 599"/>
              <a:gd name="T11" fmla="*/ 532 h 939"/>
              <a:gd name="T12" fmla="*/ 224 w 599"/>
              <a:gd name="T13" fmla="*/ 449 h 939"/>
              <a:gd name="T14" fmla="*/ 263 w 599"/>
              <a:gd name="T15" fmla="*/ 371 h 939"/>
              <a:gd name="T16" fmla="*/ 299 w 599"/>
              <a:gd name="T17" fmla="*/ 296 h 939"/>
              <a:gd name="T18" fmla="*/ 318 w 599"/>
              <a:gd name="T19" fmla="*/ 261 h 939"/>
              <a:gd name="T20" fmla="*/ 336 w 599"/>
              <a:gd name="T21" fmla="*/ 227 h 939"/>
              <a:gd name="T22" fmla="*/ 355 w 599"/>
              <a:gd name="T23" fmla="*/ 194 h 939"/>
              <a:gd name="T24" fmla="*/ 374 w 599"/>
              <a:gd name="T25" fmla="*/ 163 h 939"/>
              <a:gd name="T26" fmla="*/ 393 w 599"/>
              <a:gd name="T27" fmla="*/ 136 h 939"/>
              <a:gd name="T28" fmla="*/ 411 w 599"/>
              <a:gd name="T29" fmla="*/ 110 h 939"/>
              <a:gd name="T30" fmla="*/ 430 w 599"/>
              <a:gd name="T31" fmla="*/ 86 h 939"/>
              <a:gd name="T32" fmla="*/ 449 w 599"/>
              <a:gd name="T33" fmla="*/ 65 h 939"/>
              <a:gd name="T34" fmla="*/ 468 w 599"/>
              <a:gd name="T35" fmla="*/ 46 h 939"/>
              <a:gd name="T36" fmla="*/ 485 w 599"/>
              <a:gd name="T37" fmla="*/ 31 h 939"/>
              <a:gd name="T38" fmla="*/ 505 w 599"/>
              <a:gd name="T39" fmla="*/ 17 h 939"/>
              <a:gd name="T40" fmla="*/ 524 w 599"/>
              <a:gd name="T41" fmla="*/ 8 h 939"/>
              <a:gd name="T42" fmla="*/ 543 w 599"/>
              <a:gd name="T43" fmla="*/ 2 h 939"/>
              <a:gd name="T44" fmla="*/ 560 w 599"/>
              <a:gd name="T45" fmla="*/ 0 h 939"/>
              <a:gd name="T46" fmla="*/ 579 w 599"/>
              <a:gd name="T47" fmla="*/ 0 h 939"/>
              <a:gd name="T48" fmla="*/ 599 w 599"/>
              <a:gd name="T49" fmla="*/ 6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9" h="939">
                <a:moveTo>
                  <a:pt x="0" y="939"/>
                </a:moveTo>
                <a:lnTo>
                  <a:pt x="38" y="862"/>
                </a:lnTo>
                <a:lnTo>
                  <a:pt x="75" y="782"/>
                </a:lnTo>
                <a:lnTo>
                  <a:pt x="113" y="699"/>
                </a:lnTo>
                <a:lnTo>
                  <a:pt x="149" y="615"/>
                </a:lnTo>
                <a:lnTo>
                  <a:pt x="188" y="532"/>
                </a:lnTo>
                <a:lnTo>
                  <a:pt x="224" y="449"/>
                </a:lnTo>
                <a:lnTo>
                  <a:pt x="263" y="371"/>
                </a:lnTo>
                <a:lnTo>
                  <a:pt x="299" y="296"/>
                </a:lnTo>
                <a:lnTo>
                  <a:pt x="318" y="261"/>
                </a:lnTo>
                <a:lnTo>
                  <a:pt x="336" y="227"/>
                </a:lnTo>
                <a:lnTo>
                  <a:pt x="355" y="194"/>
                </a:lnTo>
                <a:lnTo>
                  <a:pt x="374" y="163"/>
                </a:lnTo>
                <a:lnTo>
                  <a:pt x="393" y="136"/>
                </a:lnTo>
                <a:lnTo>
                  <a:pt x="411" y="110"/>
                </a:lnTo>
                <a:lnTo>
                  <a:pt x="430" y="86"/>
                </a:lnTo>
                <a:lnTo>
                  <a:pt x="449" y="65"/>
                </a:lnTo>
                <a:lnTo>
                  <a:pt x="468" y="46"/>
                </a:lnTo>
                <a:lnTo>
                  <a:pt x="485" y="31"/>
                </a:lnTo>
                <a:lnTo>
                  <a:pt x="505" y="17"/>
                </a:lnTo>
                <a:lnTo>
                  <a:pt x="524" y="8"/>
                </a:lnTo>
                <a:lnTo>
                  <a:pt x="543" y="2"/>
                </a:lnTo>
                <a:lnTo>
                  <a:pt x="560" y="0"/>
                </a:lnTo>
                <a:lnTo>
                  <a:pt x="579" y="0"/>
                </a:lnTo>
                <a:lnTo>
                  <a:pt x="599" y="6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07" name="Freeform 39">
            <a:extLst>
              <a:ext uri="{FF2B5EF4-FFF2-40B4-BE49-F238E27FC236}">
                <a16:creationId xmlns:a16="http://schemas.microsoft.com/office/drawing/2014/main" id="{CB59D481-11BE-DA42-80CA-8AF2E664328C}"/>
              </a:ext>
            </a:extLst>
          </p:cNvPr>
          <p:cNvSpPr>
            <a:spLocks/>
          </p:cNvSpPr>
          <p:nvPr/>
        </p:nvSpPr>
        <p:spPr bwMode="auto">
          <a:xfrm>
            <a:off x="5191125" y="2863850"/>
            <a:ext cx="492125" cy="1092200"/>
          </a:xfrm>
          <a:custGeom>
            <a:avLst/>
            <a:gdLst>
              <a:gd name="T0" fmla="*/ 0 w 601"/>
              <a:gd name="T1" fmla="*/ 0 h 1377"/>
              <a:gd name="T2" fmla="*/ 19 w 601"/>
              <a:gd name="T3" fmla="*/ 9 h 1377"/>
              <a:gd name="T4" fmla="*/ 38 w 601"/>
              <a:gd name="T5" fmla="*/ 23 h 1377"/>
              <a:gd name="T6" fmla="*/ 55 w 601"/>
              <a:gd name="T7" fmla="*/ 40 h 1377"/>
              <a:gd name="T8" fmla="*/ 75 w 601"/>
              <a:gd name="T9" fmla="*/ 61 h 1377"/>
              <a:gd name="T10" fmla="*/ 94 w 601"/>
              <a:gd name="T11" fmla="*/ 86 h 1377"/>
              <a:gd name="T12" fmla="*/ 113 w 601"/>
              <a:gd name="T13" fmla="*/ 115 h 1377"/>
              <a:gd name="T14" fmla="*/ 130 w 601"/>
              <a:gd name="T15" fmla="*/ 146 h 1377"/>
              <a:gd name="T16" fmla="*/ 149 w 601"/>
              <a:gd name="T17" fmla="*/ 182 h 1377"/>
              <a:gd name="T18" fmla="*/ 169 w 601"/>
              <a:gd name="T19" fmla="*/ 219 h 1377"/>
              <a:gd name="T20" fmla="*/ 188 w 601"/>
              <a:gd name="T21" fmla="*/ 259 h 1377"/>
              <a:gd name="T22" fmla="*/ 207 w 601"/>
              <a:gd name="T23" fmla="*/ 301 h 1377"/>
              <a:gd name="T24" fmla="*/ 224 w 601"/>
              <a:gd name="T25" fmla="*/ 347 h 1377"/>
              <a:gd name="T26" fmla="*/ 244 w 601"/>
              <a:gd name="T27" fmla="*/ 393 h 1377"/>
              <a:gd name="T28" fmla="*/ 263 w 601"/>
              <a:gd name="T29" fmla="*/ 441 h 1377"/>
              <a:gd name="T30" fmla="*/ 282 w 601"/>
              <a:gd name="T31" fmla="*/ 491 h 1377"/>
              <a:gd name="T32" fmla="*/ 299 w 601"/>
              <a:gd name="T33" fmla="*/ 543 h 1377"/>
              <a:gd name="T34" fmla="*/ 338 w 601"/>
              <a:gd name="T35" fmla="*/ 649 h 1377"/>
              <a:gd name="T36" fmla="*/ 376 w 601"/>
              <a:gd name="T37" fmla="*/ 758 h 1377"/>
              <a:gd name="T38" fmla="*/ 412 w 601"/>
              <a:gd name="T39" fmla="*/ 868 h 1377"/>
              <a:gd name="T40" fmla="*/ 451 w 601"/>
              <a:gd name="T41" fmla="*/ 977 h 1377"/>
              <a:gd name="T42" fmla="*/ 487 w 601"/>
              <a:gd name="T43" fmla="*/ 1085 h 1377"/>
              <a:gd name="T44" fmla="*/ 526 w 601"/>
              <a:gd name="T45" fmla="*/ 1188 h 1377"/>
              <a:gd name="T46" fmla="*/ 545 w 601"/>
              <a:gd name="T47" fmla="*/ 1238 h 1377"/>
              <a:gd name="T48" fmla="*/ 562 w 601"/>
              <a:gd name="T49" fmla="*/ 1286 h 1377"/>
              <a:gd name="T50" fmla="*/ 581 w 601"/>
              <a:gd name="T51" fmla="*/ 1332 h 1377"/>
              <a:gd name="T52" fmla="*/ 601 w 601"/>
              <a:gd name="T53" fmla="*/ 1377 h 1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01" h="1377">
                <a:moveTo>
                  <a:pt x="0" y="0"/>
                </a:moveTo>
                <a:lnTo>
                  <a:pt x="19" y="9"/>
                </a:lnTo>
                <a:lnTo>
                  <a:pt x="38" y="23"/>
                </a:lnTo>
                <a:lnTo>
                  <a:pt x="55" y="40"/>
                </a:lnTo>
                <a:lnTo>
                  <a:pt x="75" y="61"/>
                </a:lnTo>
                <a:lnTo>
                  <a:pt x="94" y="86"/>
                </a:lnTo>
                <a:lnTo>
                  <a:pt x="113" y="115"/>
                </a:lnTo>
                <a:lnTo>
                  <a:pt x="130" y="146"/>
                </a:lnTo>
                <a:lnTo>
                  <a:pt x="149" y="182"/>
                </a:lnTo>
                <a:lnTo>
                  <a:pt x="169" y="219"/>
                </a:lnTo>
                <a:lnTo>
                  <a:pt x="188" y="259"/>
                </a:lnTo>
                <a:lnTo>
                  <a:pt x="207" y="301"/>
                </a:lnTo>
                <a:lnTo>
                  <a:pt x="224" y="347"/>
                </a:lnTo>
                <a:lnTo>
                  <a:pt x="244" y="393"/>
                </a:lnTo>
                <a:lnTo>
                  <a:pt x="263" y="441"/>
                </a:lnTo>
                <a:lnTo>
                  <a:pt x="282" y="491"/>
                </a:lnTo>
                <a:lnTo>
                  <a:pt x="299" y="543"/>
                </a:lnTo>
                <a:lnTo>
                  <a:pt x="338" y="649"/>
                </a:lnTo>
                <a:lnTo>
                  <a:pt x="376" y="758"/>
                </a:lnTo>
                <a:lnTo>
                  <a:pt x="412" y="868"/>
                </a:lnTo>
                <a:lnTo>
                  <a:pt x="451" y="977"/>
                </a:lnTo>
                <a:lnTo>
                  <a:pt x="487" y="1085"/>
                </a:lnTo>
                <a:lnTo>
                  <a:pt x="526" y="1188"/>
                </a:lnTo>
                <a:lnTo>
                  <a:pt x="545" y="1238"/>
                </a:lnTo>
                <a:lnTo>
                  <a:pt x="562" y="1286"/>
                </a:lnTo>
                <a:lnTo>
                  <a:pt x="581" y="1332"/>
                </a:lnTo>
                <a:lnTo>
                  <a:pt x="601" y="1377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08" name="Freeform 40">
            <a:extLst>
              <a:ext uri="{FF2B5EF4-FFF2-40B4-BE49-F238E27FC236}">
                <a16:creationId xmlns:a16="http://schemas.microsoft.com/office/drawing/2014/main" id="{A10DC278-6718-FD43-B3A9-46262496F317}"/>
              </a:ext>
            </a:extLst>
          </p:cNvPr>
          <p:cNvSpPr>
            <a:spLocks/>
          </p:cNvSpPr>
          <p:nvPr/>
        </p:nvSpPr>
        <p:spPr bwMode="auto">
          <a:xfrm>
            <a:off x="5683250" y="3956050"/>
            <a:ext cx="490538" cy="1100138"/>
          </a:xfrm>
          <a:custGeom>
            <a:avLst/>
            <a:gdLst>
              <a:gd name="T0" fmla="*/ 0 w 599"/>
              <a:gd name="T1" fmla="*/ 0 h 1384"/>
              <a:gd name="T2" fmla="*/ 38 w 599"/>
              <a:gd name="T3" fmla="*/ 88 h 1384"/>
              <a:gd name="T4" fmla="*/ 74 w 599"/>
              <a:gd name="T5" fmla="*/ 180 h 1384"/>
              <a:gd name="T6" fmla="*/ 113 w 599"/>
              <a:gd name="T7" fmla="*/ 274 h 1384"/>
              <a:gd name="T8" fmla="*/ 149 w 599"/>
              <a:gd name="T9" fmla="*/ 370 h 1384"/>
              <a:gd name="T10" fmla="*/ 224 w 599"/>
              <a:gd name="T11" fmla="*/ 566 h 1384"/>
              <a:gd name="T12" fmla="*/ 263 w 599"/>
              <a:gd name="T13" fmla="*/ 662 h 1384"/>
              <a:gd name="T14" fmla="*/ 299 w 599"/>
              <a:gd name="T15" fmla="*/ 758 h 1384"/>
              <a:gd name="T16" fmla="*/ 336 w 599"/>
              <a:gd name="T17" fmla="*/ 852 h 1384"/>
              <a:gd name="T18" fmla="*/ 374 w 599"/>
              <a:gd name="T19" fmla="*/ 942 h 1384"/>
              <a:gd name="T20" fmla="*/ 410 w 599"/>
              <a:gd name="T21" fmla="*/ 1031 h 1384"/>
              <a:gd name="T22" fmla="*/ 449 w 599"/>
              <a:gd name="T23" fmla="*/ 1113 h 1384"/>
              <a:gd name="T24" fmla="*/ 468 w 599"/>
              <a:gd name="T25" fmla="*/ 1154 h 1384"/>
              <a:gd name="T26" fmla="*/ 485 w 599"/>
              <a:gd name="T27" fmla="*/ 1190 h 1384"/>
              <a:gd name="T28" fmla="*/ 505 w 599"/>
              <a:gd name="T29" fmla="*/ 1227 h 1384"/>
              <a:gd name="T30" fmla="*/ 524 w 599"/>
              <a:gd name="T31" fmla="*/ 1263 h 1384"/>
              <a:gd name="T32" fmla="*/ 543 w 599"/>
              <a:gd name="T33" fmla="*/ 1296 h 1384"/>
              <a:gd name="T34" fmla="*/ 560 w 599"/>
              <a:gd name="T35" fmla="*/ 1326 h 1384"/>
              <a:gd name="T36" fmla="*/ 579 w 599"/>
              <a:gd name="T37" fmla="*/ 1357 h 1384"/>
              <a:gd name="T38" fmla="*/ 599 w 599"/>
              <a:gd name="T39" fmla="*/ 1384 h 1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99" h="1384">
                <a:moveTo>
                  <a:pt x="0" y="0"/>
                </a:moveTo>
                <a:lnTo>
                  <a:pt x="38" y="88"/>
                </a:lnTo>
                <a:lnTo>
                  <a:pt x="74" y="180"/>
                </a:lnTo>
                <a:lnTo>
                  <a:pt x="113" y="274"/>
                </a:lnTo>
                <a:lnTo>
                  <a:pt x="149" y="370"/>
                </a:lnTo>
                <a:lnTo>
                  <a:pt x="224" y="566"/>
                </a:lnTo>
                <a:lnTo>
                  <a:pt x="263" y="662"/>
                </a:lnTo>
                <a:lnTo>
                  <a:pt x="299" y="758"/>
                </a:lnTo>
                <a:lnTo>
                  <a:pt x="336" y="852"/>
                </a:lnTo>
                <a:lnTo>
                  <a:pt x="374" y="942"/>
                </a:lnTo>
                <a:lnTo>
                  <a:pt x="410" y="1031"/>
                </a:lnTo>
                <a:lnTo>
                  <a:pt x="449" y="1113"/>
                </a:lnTo>
                <a:lnTo>
                  <a:pt x="468" y="1154"/>
                </a:lnTo>
                <a:lnTo>
                  <a:pt x="485" y="1190"/>
                </a:lnTo>
                <a:lnTo>
                  <a:pt x="505" y="1227"/>
                </a:lnTo>
                <a:lnTo>
                  <a:pt x="524" y="1263"/>
                </a:lnTo>
                <a:lnTo>
                  <a:pt x="543" y="1296"/>
                </a:lnTo>
                <a:lnTo>
                  <a:pt x="560" y="1326"/>
                </a:lnTo>
                <a:lnTo>
                  <a:pt x="579" y="1357"/>
                </a:lnTo>
                <a:lnTo>
                  <a:pt x="599" y="1384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09" name="Freeform 41">
            <a:extLst>
              <a:ext uri="{FF2B5EF4-FFF2-40B4-BE49-F238E27FC236}">
                <a16:creationId xmlns:a16="http://schemas.microsoft.com/office/drawing/2014/main" id="{E0C8111A-642D-954B-90FD-7912E3013CAF}"/>
              </a:ext>
            </a:extLst>
          </p:cNvPr>
          <p:cNvSpPr>
            <a:spLocks/>
          </p:cNvSpPr>
          <p:nvPr/>
        </p:nvSpPr>
        <p:spPr bwMode="auto">
          <a:xfrm>
            <a:off x="6173788" y="5056188"/>
            <a:ext cx="490537" cy="244475"/>
          </a:xfrm>
          <a:custGeom>
            <a:avLst/>
            <a:gdLst>
              <a:gd name="T0" fmla="*/ 0 w 601"/>
              <a:gd name="T1" fmla="*/ 0 h 309"/>
              <a:gd name="T2" fmla="*/ 19 w 601"/>
              <a:gd name="T3" fmla="*/ 25 h 309"/>
              <a:gd name="T4" fmla="*/ 36 w 601"/>
              <a:gd name="T5" fmla="*/ 48 h 309"/>
              <a:gd name="T6" fmla="*/ 55 w 601"/>
              <a:gd name="T7" fmla="*/ 69 h 309"/>
              <a:gd name="T8" fmla="*/ 73 w 601"/>
              <a:gd name="T9" fmla="*/ 90 h 309"/>
              <a:gd name="T10" fmla="*/ 92 w 601"/>
              <a:gd name="T11" fmla="*/ 109 h 309"/>
              <a:gd name="T12" fmla="*/ 111 w 601"/>
              <a:gd name="T13" fmla="*/ 127 h 309"/>
              <a:gd name="T14" fmla="*/ 149 w 601"/>
              <a:gd name="T15" fmla="*/ 157 h 309"/>
              <a:gd name="T16" fmla="*/ 186 w 601"/>
              <a:gd name="T17" fmla="*/ 182 h 309"/>
              <a:gd name="T18" fmla="*/ 224 w 601"/>
              <a:gd name="T19" fmla="*/ 205 h 309"/>
              <a:gd name="T20" fmla="*/ 263 w 601"/>
              <a:gd name="T21" fmla="*/ 223 h 309"/>
              <a:gd name="T22" fmla="*/ 299 w 601"/>
              <a:gd name="T23" fmla="*/ 238 h 309"/>
              <a:gd name="T24" fmla="*/ 338 w 601"/>
              <a:gd name="T25" fmla="*/ 250 h 309"/>
              <a:gd name="T26" fmla="*/ 376 w 601"/>
              <a:gd name="T27" fmla="*/ 261 h 309"/>
              <a:gd name="T28" fmla="*/ 414 w 601"/>
              <a:gd name="T29" fmla="*/ 269 h 309"/>
              <a:gd name="T30" fmla="*/ 451 w 601"/>
              <a:gd name="T31" fmla="*/ 277 h 309"/>
              <a:gd name="T32" fmla="*/ 526 w 601"/>
              <a:gd name="T33" fmla="*/ 292 h 309"/>
              <a:gd name="T34" fmla="*/ 564 w 601"/>
              <a:gd name="T35" fmla="*/ 300 h 309"/>
              <a:gd name="T36" fmla="*/ 601 w 601"/>
              <a:gd name="T37" fmla="*/ 309 h 3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01" h="309">
                <a:moveTo>
                  <a:pt x="0" y="0"/>
                </a:moveTo>
                <a:lnTo>
                  <a:pt x="19" y="25"/>
                </a:lnTo>
                <a:lnTo>
                  <a:pt x="36" y="48"/>
                </a:lnTo>
                <a:lnTo>
                  <a:pt x="55" y="69"/>
                </a:lnTo>
                <a:lnTo>
                  <a:pt x="73" y="90"/>
                </a:lnTo>
                <a:lnTo>
                  <a:pt x="92" y="109"/>
                </a:lnTo>
                <a:lnTo>
                  <a:pt x="111" y="127"/>
                </a:lnTo>
                <a:lnTo>
                  <a:pt x="149" y="157"/>
                </a:lnTo>
                <a:lnTo>
                  <a:pt x="186" y="182"/>
                </a:lnTo>
                <a:lnTo>
                  <a:pt x="224" y="205"/>
                </a:lnTo>
                <a:lnTo>
                  <a:pt x="263" y="223"/>
                </a:lnTo>
                <a:lnTo>
                  <a:pt x="299" y="238"/>
                </a:lnTo>
                <a:lnTo>
                  <a:pt x="338" y="250"/>
                </a:lnTo>
                <a:lnTo>
                  <a:pt x="376" y="261"/>
                </a:lnTo>
                <a:lnTo>
                  <a:pt x="414" y="269"/>
                </a:lnTo>
                <a:lnTo>
                  <a:pt x="451" y="277"/>
                </a:lnTo>
                <a:lnTo>
                  <a:pt x="526" y="292"/>
                </a:lnTo>
                <a:lnTo>
                  <a:pt x="564" y="300"/>
                </a:lnTo>
                <a:lnTo>
                  <a:pt x="601" y="309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10" name="Freeform 42">
            <a:extLst>
              <a:ext uri="{FF2B5EF4-FFF2-40B4-BE49-F238E27FC236}">
                <a16:creationId xmlns:a16="http://schemas.microsoft.com/office/drawing/2014/main" id="{94CDC11B-50B9-3148-906B-65E06C9B1242}"/>
              </a:ext>
            </a:extLst>
          </p:cNvPr>
          <p:cNvSpPr>
            <a:spLocks/>
          </p:cNvSpPr>
          <p:nvPr/>
        </p:nvSpPr>
        <p:spPr bwMode="auto">
          <a:xfrm>
            <a:off x="6664325" y="5300663"/>
            <a:ext cx="492125" cy="22225"/>
          </a:xfrm>
          <a:custGeom>
            <a:avLst/>
            <a:gdLst>
              <a:gd name="T0" fmla="*/ 0 w 599"/>
              <a:gd name="T1" fmla="*/ 0 h 29"/>
              <a:gd name="T2" fmla="*/ 38 w 599"/>
              <a:gd name="T3" fmla="*/ 10 h 29"/>
              <a:gd name="T4" fmla="*/ 74 w 599"/>
              <a:gd name="T5" fmla="*/ 16 h 29"/>
              <a:gd name="T6" fmla="*/ 113 w 599"/>
              <a:gd name="T7" fmla="*/ 21 h 29"/>
              <a:gd name="T8" fmla="*/ 149 w 599"/>
              <a:gd name="T9" fmla="*/ 25 h 29"/>
              <a:gd name="T10" fmla="*/ 224 w 599"/>
              <a:gd name="T11" fmla="*/ 29 h 29"/>
              <a:gd name="T12" fmla="*/ 299 w 599"/>
              <a:gd name="T13" fmla="*/ 27 h 29"/>
              <a:gd name="T14" fmla="*/ 374 w 599"/>
              <a:gd name="T15" fmla="*/ 25 h 29"/>
              <a:gd name="T16" fmla="*/ 449 w 599"/>
              <a:gd name="T17" fmla="*/ 21 h 29"/>
              <a:gd name="T18" fmla="*/ 524 w 599"/>
              <a:gd name="T19" fmla="*/ 19 h 29"/>
              <a:gd name="T20" fmla="*/ 599 w 599"/>
              <a:gd name="T21" fmla="*/ 1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99" h="29">
                <a:moveTo>
                  <a:pt x="0" y="0"/>
                </a:moveTo>
                <a:lnTo>
                  <a:pt x="38" y="10"/>
                </a:lnTo>
                <a:lnTo>
                  <a:pt x="74" y="16"/>
                </a:lnTo>
                <a:lnTo>
                  <a:pt x="113" y="21"/>
                </a:lnTo>
                <a:lnTo>
                  <a:pt x="149" y="25"/>
                </a:lnTo>
                <a:lnTo>
                  <a:pt x="224" y="29"/>
                </a:lnTo>
                <a:lnTo>
                  <a:pt x="299" y="27"/>
                </a:lnTo>
                <a:lnTo>
                  <a:pt x="374" y="25"/>
                </a:lnTo>
                <a:lnTo>
                  <a:pt x="449" y="21"/>
                </a:lnTo>
                <a:lnTo>
                  <a:pt x="524" y="19"/>
                </a:lnTo>
                <a:lnTo>
                  <a:pt x="599" y="19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11" name="Freeform 43">
            <a:extLst>
              <a:ext uri="{FF2B5EF4-FFF2-40B4-BE49-F238E27FC236}">
                <a16:creationId xmlns:a16="http://schemas.microsoft.com/office/drawing/2014/main" id="{978127B3-A084-4542-8394-E6D198278E0A}"/>
              </a:ext>
            </a:extLst>
          </p:cNvPr>
          <p:cNvSpPr>
            <a:spLocks/>
          </p:cNvSpPr>
          <p:nvPr/>
        </p:nvSpPr>
        <p:spPr bwMode="auto">
          <a:xfrm>
            <a:off x="3225800" y="5308600"/>
            <a:ext cx="488950" cy="7938"/>
          </a:xfrm>
          <a:custGeom>
            <a:avLst/>
            <a:gdLst>
              <a:gd name="T0" fmla="*/ 0 w 599"/>
              <a:gd name="T1" fmla="*/ 9 h 9"/>
              <a:gd name="T2" fmla="*/ 150 w 599"/>
              <a:gd name="T3" fmla="*/ 9 h 9"/>
              <a:gd name="T4" fmla="*/ 299 w 599"/>
              <a:gd name="T5" fmla="*/ 9 h 9"/>
              <a:gd name="T6" fmla="*/ 374 w 599"/>
              <a:gd name="T7" fmla="*/ 9 h 9"/>
              <a:gd name="T8" fmla="*/ 449 w 599"/>
              <a:gd name="T9" fmla="*/ 7 h 9"/>
              <a:gd name="T10" fmla="*/ 524 w 599"/>
              <a:gd name="T11" fmla="*/ 6 h 9"/>
              <a:gd name="T12" fmla="*/ 599 w 599"/>
              <a:gd name="T13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99" h="9">
                <a:moveTo>
                  <a:pt x="0" y="9"/>
                </a:moveTo>
                <a:lnTo>
                  <a:pt x="150" y="9"/>
                </a:lnTo>
                <a:lnTo>
                  <a:pt x="299" y="9"/>
                </a:lnTo>
                <a:lnTo>
                  <a:pt x="374" y="9"/>
                </a:lnTo>
                <a:lnTo>
                  <a:pt x="449" y="7"/>
                </a:lnTo>
                <a:lnTo>
                  <a:pt x="524" y="6"/>
                </a:lnTo>
                <a:lnTo>
                  <a:pt x="599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12" name="Freeform 44">
            <a:extLst>
              <a:ext uri="{FF2B5EF4-FFF2-40B4-BE49-F238E27FC236}">
                <a16:creationId xmlns:a16="http://schemas.microsoft.com/office/drawing/2014/main" id="{7B593839-CFE9-2340-B79C-C6FAA5F2DC50}"/>
              </a:ext>
            </a:extLst>
          </p:cNvPr>
          <p:cNvSpPr>
            <a:spLocks/>
          </p:cNvSpPr>
          <p:nvPr/>
        </p:nvSpPr>
        <p:spPr bwMode="auto">
          <a:xfrm>
            <a:off x="3714750" y="5235575"/>
            <a:ext cx="493713" cy="73025"/>
          </a:xfrm>
          <a:custGeom>
            <a:avLst/>
            <a:gdLst>
              <a:gd name="T0" fmla="*/ 0 w 601"/>
              <a:gd name="T1" fmla="*/ 92 h 92"/>
              <a:gd name="T2" fmla="*/ 75 w 601"/>
              <a:gd name="T3" fmla="*/ 88 h 92"/>
              <a:gd name="T4" fmla="*/ 150 w 601"/>
              <a:gd name="T5" fmla="*/ 86 h 92"/>
              <a:gd name="T6" fmla="*/ 224 w 601"/>
              <a:gd name="T7" fmla="*/ 84 h 92"/>
              <a:gd name="T8" fmla="*/ 299 w 601"/>
              <a:gd name="T9" fmla="*/ 80 h 92"/>
              <a:gd name="T10" fmla="*/ 338 w 601"/>
              <a:gd name="T11" fmla="*/ 76 h 92"/>
              <a:gd name="T12" fmla="*/ 376 w 601"/>
              <a:gd name="T13" fmla="*/ 73 h 92"/>
              <a:gd name="T14" fmla="*/ 413 w 601"/>
              <a:gd name="T15" fmla="*/ 67 h 92"/>
              <a:gd name="T16" fmla="*/ 451 w 601"/>
              <a:gd name="T17" fmla="*/ 57 h 92"/>
              <a:gd name="T18" fmla="*/ 487 w 601"/>
              <a:gd name="T19" fmla="*/ 48 h 92"/>
              <a:gd name="T20" fmla="*/ 526 w 601"/>
              <a:gd name="T21" fmla="*/ 34 h 92"/>
              <a:gd name="T22" fmla="*/ 562 w 601"/>
              <a:gd name="T23" fmla="*/ 19 h 92"/>
              <a:gd name="T24" fmla="*/ 601 w 601"/>
              <a:gd name="T25" fmla="*/ 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01" h="92">
                <a:moveTo>
                  <a:pt x="0" y="92"/>
                </a:moveTo>
                <a:lnTo>
                  <a:pt x="75" y="88"/>
                </a:lnTo>
                <a:lnTo>
                  <a:pt x="150" y="86"/>
                </a:lnTo>
                <a:lnTo>
                  <a:pt x="224" y="84"/>
                </a:lnTo>
                <a:lnTo>
                  <a:pt x="299" y="80"/>
                </a:lnTo>
                <a:lnTo>
                  <a:pt x="338" y="76"/>
                </a:lnTo>
                <a:lnTo>
                  <a:pt x="376" y="73"/>
                </a:lnTo>
                <a:lnTo>
                  <a:pt x="413" y="67"/>
                </a:lnTo>
                <a:lnTo>
                  <a:pt x="451" y="57"/>
                </a:lnTo>
                <a:lnTo>
                  <a:pt x="487" y="48"/>
                </a:lnTo>
                <a:lnTo>
                  <a:pt x="526" y="34"/>
                </a:lnTo>
                <a:lnTo>
                  <a:pt x="562" y="19"/>
                </a:lnTo>
                <a:lnTo>
                  <a:pt x="601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13" name="Freeform 45">
            <a:extLst>
              <a:ext uri="{FF2B5EF4-FFF2-40B4-BE49-F238E27FC236}">
                <a16:creationId xmlns:a16="http://schemas.microsoft.com/office/drawing/2014/main" id="{2801C8AA-79BC-884D-9F02-B453E7F5A44A}"/>
              </a:ext>
            </a:extLst>
          </p:cNvPr>
          <p:cNvSpPr>
            <a:spLocks/>
          </p:cNvSpPr>
          <p:nvPr/>
        </p:nvSpPr>
        <p:spPr bwMode="auto">
          <a:xfrm>
            <a:off x="4208463" y="4789488"/>
            <a:ext cx="490537" cy="446087"/>
          </a:xfrm>
          <a:custGeom>
            <a:avLst/>
            <a:gdLst>
              <a:gd name="T0" fmla="*/ 0 w 601"/>
              <a:gd name="T1" fmla="*/ 563 h 563"/>
              <a:gd name="T2" fmla="*/ 73 w 601"/>
              <a:gd name="T3" fmla="*/ 524 h 563"/>
              <a:gd name="T4" fmla="*/ 148 w 601"/>
              <a:gd name="T5" fmla="*/ 482 h 563"/>
              <a:gd name="T6" fmla="*/ 186 w 601"/>
              <a:gd name="T7" fmla="*/ 459 h 563"/>
              <a:gd name="T8" fmla="*/ 224 w 601"/>
              <a:gd name="T9" fmla="*/ 436 h 563"/>
              <a:gd name="T10" fmla="*/ 263 w 601"/>
              <a:gd name="T11" fmla="*/ 409 h 563"/>
              <a:gd name="T12" fmla="*/ 301 w 601"/>
              <a:gd name="T13" fmla="*/ 378 h 563"/>
              <a:gd name="T14" fmla="*/ 340 w 601"/>
              <a:gd name="T15" fmla="*/ 348 h 563"/>
              <a:gd name="T16" fmla="*/ 378 w 601"/>
              <a:gd name="T17" fmla="*/ 311 h 563"/>
              <a:gd name="T18" fmla="*/ 414 w 601"/>
              <a:gd name="T19" fmla="*/ 271 h 563"/>
              <a:gd name="T20" fmla="*/ 453 w 601"/>
              <a:gd name="T21" fmla="*/ 227 h 563"/>
              <a:gd name="T22" fmla="*/ 491 w 601"/>
              <a:gd name="T23" fmla="*/ 179 h 563"/>
              <a:gd name="T24" fmla="*/ 528 w 601"/>
              <a:gd name="T25" fmla="*/ 125 h 563"/>
              <a:gd name="T26" fmla="*/ 547 w 601"/>
              <a:gd name="T27" fmla="*/ 96 h 563"/>
              <a:gd name="T28" fmla="*/ 564 w 601"/>
              <a:gd name="T29" fmla="*/ 65 h 563"/>
              <a:gd name="T30" fmla="*/ 583 w 601"/>
              <a:gd name="T31" fmla="*/ 33 h 563"/>
              <a:gd name="T32" fmla="*/ 601 w 601"/>
              <a:gd name="T33" fmla="*/ 0 h 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01" h="563">
                <a:moveTo>
                  <a:pt x="0" y="563"/>
                </a:moveTo>
                <a:lnTo>
                  <a:pt x="73" y="524"/>
                </a:lnTo>
                <a:lnTo>
                  <a:pt x="148" y="482"/>
                </a:lnTo>
                <a:lnTo>
                  <a:pt x="186" y="459"/>
                </a:lnTo>
                <a:lnTo>
                  <a:pt x="224" y="436"/>
                </a:lnTo>
                <a:lnTo>
                  <a:pt x="263" y="409"/>
                </a:lnTo>
                <a:lnTo>
                  <a:pt x="301" y="378"/>
                </a:lnTo>
                <a:lnTo>
                  <a:pt x="340" y="348"/>
                </a:lnTo>
                <a:lnTo>
                  <a:pt x="378" y="311"/>
                </a:lnTo>
                <a:lnTo>
                  <a:pt x="414" y="271"/>
                </a:lnTo>
                <a:lnTo>
                  <a:pt x="453" y="227"/>
                </a:lnTo>
                <a:lnTo>
                  <a:pt x="491" y="179"/>
                </a:lnTo>
                <a:lnTo>
                  <a:pt x="528" y="125"/>
                </a:lnTo>
                <a:lnTo>
                  <a:pt x="547" y="96"/>
                </a:lnTo>
                <a:lnTo>
                  <a:pt x="564" y="65"/>
                </a:lnTo>
                <a:lnTo>
                  <a:pt x="583" y="33"/>
                </a:lnTo>
                <a:lnTo>
                  <a:pt x="601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14" name="Freeform 46">
            <a:extLst>
              <a:ext uri="{FF2B5EF4-FFF2-40B4-BE49-F238E27FC236}">
                <a16:creationId xmlns:a16="http://schemas.microsoft.com/office/drawing/2014/main" id="{F7E316FD-9FE0-EE4E-9911-8E7775FFA18D}"/>
              </a:ext>
            </a:extLst>
          </p:cNvPr>
          <p:cNvSpPr>
            <a:spLocks/>
          </p:cNvSpPr>
          <p:nvPr/>
        </p:nvSpPr>
        <p:spPr bwMode="auto">
          <a:xfrm>
            <a:off x="4699000" y="3413125"/>
            <a:ext cx="492125" cy="1376363"/>
          </a:xfrm>
          <a:custGeom>
            <a:avLst/>
            <a:gdLst>
              <a:gd name="T0" fmla="*/ 0 w 599"/>
              <a:gd name="T1" fmla="*/ 1732 h 1732"/>
              <a:gd name="T2" fmla="*/ 19 w 599"/>
              <a:gd name="T3" fmla="*/ 1696 h 1732"/>
              <a:gd name="T4" fmla="*/ 38 w 599"/>
              <a:gd name="T5" fmla="*/ 1655 h 1732"/>
              <a:gd name="T6" fmla="*/ 55 w 599"/>
              <a:gd name="T7" fmla="*/ 1611 h 1732"/>
              <a:gd name="T8" fmla="*/ 75 w 599"/>
              <a:gd name="T9" fmla="*/ 1567 h 1732"/>
              <a:gd name="T10" fmla="*/ 94 w 599"/>
              <a:gd name="T11" fmla="*/ 1519 h 1732"/>
              <a:gd name="T12" fmla="*/ 113 w 599"/>
              <a:gd name="T13" fmla="*/ 1469 h 1732"/>
              <a:gd name="T14" fmla="*/ 130 w 599"/>
              <a:gd name="T15" fmla="*/ 1417 h 1732"/>
              <a:gd name="T16" fmla="*/ 149 w 599"/>
              <a:gd name="T17" fmla="*/ 1363 h 1732"/>
              <a:gd name="T18" fmla="*/ 169 w 599"/>
              <a:gd name="T19" fmla="*/ 1308 h 1732"/>
              <a:gd name="T20" fmla="*/ 188 w 599"/>
              <a:gd name="T21" fmla="*/ 1252 h 1732"/>
              <a:gd name="T22" fmla="*/ 224 w 599"/>
              <a:gd name="T23" fmla="*/ 1135 h 1732"/>
              <a:gd name="T24" fmla="*/ 263 w 599"/>
              <a:gd name="T25" fmla="*/ 1014 h 1732"/>
              <a:gd name="T26" fmla="*/ 299 w 599"/>
              <a:gd name="T27" fmla="*/ 891 h 1732"/>
              <a:gd name="T28" fmla="*/ 336 w 599"/>
              <a:gd name="T29" fmla="*/ 768 h 1732"/>
              <a:gd name="T30" fmla="*/ 374 w 599"/>
              <a:gd name="T31" fmla="*/ 645 h 1732"/>
              <a:gd name="T32" fmla="*/ 411 w 599"/>
              <a:gd name="T33" fmla="*/ 524 h 1732"/>
              <a:gd name="T34" fmla="*/ 449 w 599"/>
              <a:gd name="T35" fmla="*/ 407 h 1732"/>
              <a:gd name="T36" fmla="*/ 468 w 599"/>
              <a:gd name="T37" fmla="*/ 349 h 1732"/>
              <a:gd name="T38" fmla="*/ 485 w 599"/>
              <a:gd name="T39" fmla="*/ 294 h 1732"/>
              <a:gd name="T40" fmla="*/ 505 w 599"/>
              <a:gd name="T41" fmla="*/ 240 h 1732"/>
              <a:gd name="T42" fmla="*/ 524 w 599"/>
              <a:gd name="T43" fmla="*/ 188 h 1732"/>
              <a:gd name="T44" fmla="*/ 543 w 599"/>
              <a:gd name="T45" fmla="*/ 138 h 1732"/>
              <a:gd name="T46" fmla="*/ 560 w 599"/>
              <a:gd name="T47" fmla="*/ 90 h 1732"/>
              <a:gd name="T48" fmla="*/ 579 w 599"/>
              <a:gd name="T49" fmla="*/ 44 h 1732"/>
              <a:gd name="T50" fmla="*/ 599 w 599"/>
              <a:gd name="T51" fmla="*/ 0 h 17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99" h="1732">
                <a:moveTo>
                  <a:pt x="0" y="1732"/>
                </a:moveTo>
                <a:lnTo>
                  <a:pt x="19" y="1696"/>
                </a:lnTo>
                <a:lnTo>
                  <a:pt x="38" y="1655"/>
                </a:lnTo>
                <a:lnTo>
                  <a:pt x="55" y="1611"/>
                </a:lnTo>
                <a:lnTo>
                  <a:pt x="75" y="1567"/>
                </a:lnTo>
                <a:lnTo>
                  <a:pt x="94" y="1519"/>
                </a:lnTo>
                <a:lnTo>
                  <a:pt x="113" y="1469"/>
                </a:lnTo>
                <a:lnTo>
                  <a:pt x="130" y="1417"/>
                </a:lnTo>
                <a:lnTo>
                  <a:pt x="149" y="1363"/>
                </a:lnTo>
                <a:lnTo>
                  <a:pt x="169" y="1308"/>
                </a:lnTo>
                <a:lnTo>
                  <a:pt x="188" y="1252"/>
                </a:lnTo>
                <a:lnTo>
                  <a:pt x="224" y="1135"/>
                </a:lnTo>
                <a:lnTo>
                  <a:pt x="263" y="1014"/>
                </a:lnTo>
                <a:lnTo>
                  <a:pt x="299" y="891"/>
                </a:lnTo>
                <a:lnTo>
                  <a:pt x="336" y="768"/>
                </a:lnTo>
                <a:lnTo>
                  <a:pt x="374" y="645"/>
                </a:lnTo>
                <a:lnTo>
                  <a:pt x="411" y="524"/>
                </a:lnTo>
                <a:lnTo>
                  <a:pt x="449" y="407"/>
                </a:lnTo>
                <a:lnTo>
                  <a:pt x="468" y="349"/>
                </a:lnTo>
                <a:lnTo>
                  <a:pt x="485" y="294"/>
                </a:lnTo>
                <a:lnTo>
                  <a:pt x="505" y="240"/>
                </a:lnTo>
                <a:lnTo>
                  <a:pt x="524" y="188"/>
                </a:lnTo>
                <a:lnTo>
                  <a:pt x="543" y="138"/>
                </a:lnTo>
                <a:lnTo>
                  <a:pt x="560" y="90"/>
                </a:lnTo>
                <a:lnTo>
                  <a:pt x="579" y="44"/>
                </a:lnTo>
                <a:lnTo>
                  <a:pt x="599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15" name="Freeform 47">
            <a:extLst>
              <a:ext uri="{FF2B5EF4-FFF2-40B4-BE49-F238E27FC236}">
                <a16:creationId xmlns:a16="http://schemas.microsoft.com/office/drawing/2014/main" id="{F703C499-C537-D941-AECC-846C059315EF}"/>
              </a:ext>
            </a:extLst>
          </p:cNvPr>
          <p:cNvSpPr>
            <a:spLocks/>
          </p:cNvSpPr>
          <p:nvPr/>
        </p:nvSpPr>
        <p:spPr bwMode="auto">
          <a:xfrm>
            <a:off x="5191125" y="2622550"/>
            <a:ext cx="492125" cy="790575"/>
          </a:xfrm>
          <a:custGeom>
            <a:avLst/>
            <a:gdLst>
              <a:gd name="T0" fmla="*/ 0 w 601"/>
              <a:gd name="T1" fmla="*/ 997 h 997"/>
              <a:gd name="T2" fmla="*/ 38 w 601"/>
              <a:gd name="T3" fmla="*/ 911 h 997"/>
              <a:gd name="T4" fmla="*/ 75 w 601"/>
              <a:gd name="T5" fmla="*/ 818 h 997"/>
              <a:gd name="T6" fmla="*/ 113 w 601"/>
              <a:gd name="T7" fmla="*/ 726 h 997"/>
              <a:gd name="T8" fmla="*/ 149 w 601"/>
              <a:gd name="T9" fmla="*/ 632 h 997"/>
              <a:gd name="T10" fmla="*/ 188 w 601"/>
              <a:gd name="T11" fmla="*/ 538 h 997"/>
              <a:gd name="T12" fmla="*/ 224 w 601"/>
              <a:gd name="T13" fmla="*/ 448 h 997"/>
              <a:gd name="T14" fmla="*/ 263 w 601"/>
              <a:gd name="T15" fmla="*/ 359 h 997"/>
              <a:gd name="T16" fmla="*/ 282 w 601"/>
              <a:gd name="T17" fmla="*/ 319 h 997"/>
              <a:gd name="T18" fmla="*/ 299 w 601"/>
              <a:gd name="T19" fmla="*/ 279 h 997"/>
              <a:gd name="T20" fmla="*/ 318 w 601"/>
              <a:gd name="T21" fmla="*/ 240 h 997"/>
              <a:gd name="T22" fmla="*/ 338 w 601"/>
              <a:gd name="T23" fmla="*/ 204 h 997"/>
              <a:gd name="T24" fmla="*/ 357 w 601"/>
              <a:gd name="T25" fmla="*/ 171 h 997"/>
              <a:gd name="T26" fmla="*/ 376 w 601"/>
              <a:gd name="T27" fmla="*/ 141 h 997"/>
              <a:gd name="T28" fmla="*/ 393 w 601"/>
              <a:gd name="T29" fmla="*/ 112 h 997"/>
              <a:gd name="T30" fmla="*/ 412 w 601"/>
              <a:gd name="T31" fmla="*/ 85 h 997"/>
              <a:gd name="T32" fmla="*/ 432 w 601"/>
              <a:gd name="T33" fmla="*/ 62 h 997"/>
              <a:gd name="T34" fmla="*/ 451 w 601"/>
              <a:gd name="T35" fmla="*/ 43 h 997"/>
              <a:gd name="T36" fmla="*/ 470 w 601"/>
              <a:gd name="T37" fmla="*/ 25 h 997"/>
              <a:gd name="T38" fmla="*/ 487 w 601"/>
              <a:gd name="T39" fmla="*/ 14 h 997"/>
              <a:gd name="T40" fmla="*/ 507 w 601"/>
              <a:gd name="T41" fmla="*/ 4 h 997"/>
              <a:gd name="T42" fmla="*/ 526 w 601"/>
              <a:gd name="T43" fmla="*/ 0 h 997"/>
              <a:gd name="T44" fmla="*/ 545 w 601"/>
              <a:gd name="T45" fmla="*/ 0 h 997"/>
              <a:gd name="T46" fmla="*/ 562 w 601"/>
              <a:gd name="T47" fmla="*/ 4 h 997"/>
              <a:gd name="T48" fmla="*/ 581 w 601"/>
              <a:gd name="T49" fmla="*/ 12 h 997"/>
              <a:gd name="T50" fmla="*/ 601 w 601"/>
              <a:gd name="T51" fmla="*/ 25 h 9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601" h="997">
                <a:moveTo>
                  <a:pt x="0" y="997"/>
                </a:moveTo>
                <a:lnTo>
                  <a:pt x="38" y="911"/>
                </a:lnTo>
                <a:lnTo>
                  <a:pt x="75" y="818"/>
                </a:lnTo>
                <a:lnTo>
                  <a:pt x="113" y="726"/>
                </a:lnTo>
                <a:lnTo>
                  <a:pt x="149" y="632"/>
                </a:lnTo>
                <a:lnTo>
                  <a:pt x="188" y="538"/>
                </a:lnTo>
                <a:lnTo>
                  <a:pt x="224" y="448"/>
                </a:lnTo>
                <a:lnTo>
                  <a:pt x="263" y="359"/>
                </a:lnTo>
                <a:lnTo>
                  <a:pt x="282" y="319"/>
                </a:lnTo>
                <a:lnTo>
                  <a:pt x="299" y="279"/>
                </a:lnTo>
                <a:lnTo>
                  <a:pt x="318" y="240"/>
                </a:lnTo>
                <a:lnTo>
                  <a:pt x="338" y="204"/>
                </a:lnTo>
                <a:lnTo>
                  <a:pt x="357" y="171"/>
                </a:lnTo>
                <a:lnTo>
                  <a:pt x="376" y="141"/>
                </a:lnTo>
                <a:lnTo>
                  <a:pt x="393" y="112"/>
                </a:lnTo>
                <a:lnTo>
                  <a:pt x="412" y="85"/>
                </a:lnTo>
                <a:lnTo>
                  <a:pt x="432" y="62"/>
                </a:lnTo>
                <a:lnTo>
                  <a:pt x="451" y="43"/>
                </a:lnTo>
                <a:lnTo>
                  <a:pt x="470" y="25"/>
                </a:lnTo>
                <a:lnTo>
                  <a:pt x="487" y="14"/>
                </a:lnTo>
                <a:lnTo>
                  <a:pt x="507" y="4"/>
                </a:lnTo>
                <a:lnTo>
                  <a:pt x="526" y="0"/>
                </a:lnTo>
                <a:lnTo>
                  <a:pt x="545" y="0"/>
                </a:lnTo>
                <a:lnTo>
                  <a:pt x="562" y="4"/>
                </a:lnTo>
                <a:lnTo>
                  <a:pt x="581" y="12"/>
                </a:lnTo>
                <a:lnTo>
                  <a:pt x="601" y="25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16" name="Freeform 48">
            <a:extLst>
              <a:ext uri="{FF2B5EF4-FFF2-40B4-BE49-F238E27FC236}">
                <a16:creationId xmlns:a16="http://schemas.microsoft.com/office/drawing/2014/main" id="{A857F0D5-738C-7E4D-8AC4-2F8BA944A575}"/>
              </a:ext>
            </a:extLst>
          </p:cNvPr>
          <p:cNvSpPr>
            <a:spLocks/>
          </p:cNvSpPr>
          <p:nvPr/>
        </p:nvSpPr>
        <p:spPr bwMode="auto">
          <a:xfrm>
            <a:off x="5683250" y="2643188"/>
            <a:ext cx="490538" cy="1576387"/>
          </a:xfrm>
          <a:custGeom>
            <a:avLst/>
            <a:gdLst>
              <a:gd name="T0" fmla="*/ 0 w 599"/>
              <a:gd name="T1" fmla="*/ 0 h 1988"/>
              <a:gd name="T2" fmla="*/ 9 w 599"/>
              <a:gd name="T3" fmla="*/ 10 h 1988"/>
              <a:gd name="T4" fmla="*/ 19 w 599"/>
              <a:gd name="T5" fmla="*/ 20 h 1988"/>
              <a:gd name="T6" fmla="*/ 28 w 599"/>
              <a:gd name="T7" fmla="*/ 31 h 1988"/>
              <a:gd name="T8" fmla="*/ 38 w 599"/>
              <a:gd name="T9" fmla="*/ 45 h 1988"/>
              <a:gd name="T10" fmla="*/ 46 w 599"/>
              <a:gd name="T11" fmla="*/ 60 h 1988"/>
              <a:gd name="T12" fmla="*/ 55 w 599"/>
              <a:gd name="T13" fmla="*/ 75 h 1988"/>
              <a:gd name="T14" fmla="*/ 74 w 599"/>
              <a:gd name="T15" fmla="*/ 114 h 1988"/>
              <a:gd name="T16" fmla="*/ 94 w 599"/>
              <a:gd name="T17" fmla="*/ 156 h 1988"/>
              <a:gd name="T18" fmla="*/ 113 w 599"/>
              <a:gd name="T19" fmla="*/ 202 h 1988"/>
              <a:gd name="T20" fmla="*/ 130 w 599"/>
              <a:gd name="T21" fmla="*/ 254 h 1988"/>
              <a:gd name="T22" fmla="*/ 149 w 599"/>
              <a:gd name="T23" fmla="*/ 310 h 1988"/>
              <a:gd name="T24" fmla="*/ 169 w 599"/>
              <a:gd name="T25" fmla="*/ 369 h 1988"/>
              <a:gd name="T26" fmla="*/ 186 w 599"/>
              <a:gd name="T27" fmla="*/ 431 h 1988"/>
              <a:gd name="T28" fmla="*/ 205 w 599"/>
              <a:gd name="T29" fmla="*/ 498 h 1988"/>
              <a:gd name="T30" fmla="*/ 224 w 599"/>
              <a:gd name="T31" fmla="*/ 567 h 1988"/>
              <a:gd name="T32" fmla="*/ 243 w 599"/>
              <a:gd name="T33" fmla="*/ 638 h 1988"/>
              <a:gd name="T34" fmla="*/ 261 w 599"/>
              <a:gd name="T35" fmla="*/ 711 h 1988"/>
              <a:gd name="T36" fmla="*/ 280 w 599"/>
              <a:gd name="T37" fmla="*/ 786 h 1988"/>
              <a:gd name="T38" fmla="*/ 299 w 599"/>
              <a:gd name="T39" fmla="*/ 863 h 1988"/>
              <a:gd name="T40" fmla="*/ 336 w 599"/>
              <a:gd name="T41" fmla="*/ 1018 h 1988"/>
              <a:gd name="T42" fmla="*/ 374 w 599"/>
              <a:gd name="T43" fmla="*/ 1176 h 1988"/>
              <a:gd name="T44" fmla="*/ 410 w 599"/>
              <a:gd name="T45" fmla="*/ 1331 h 1988"/>
              <a:gd name="T46" fmla="*/ 430 w 599"/>
              <a:gd name="T47" fmla="*/ 1406 h 1988"/>
              <a:gd name="T48" fmla="*/ 449 w 599"/>
              <a:gd name="T49" fmla="*/ 1481 h 1988"/>
              <a:gd name="T50" fmla="*/ 468 w 599"/>
              <a:gd name="T51" fmla="*/ 1554 h 1988"/>
              <a:gd name="T52" fmla="*/ 485 w 599"/>
              <a:gd name="T53" fmla="*/ 1625 h 1988"/>
              <a:gd name="T54" fmla="*/ 505 w 599"/>
              <a:gd name="T55" fmla="*/ 1694 h 1988"/>
              <a:gd name="T56" fmla="*/ 524 w 599"/>
              <a:gd name="T57" fmla="*/ 1759 h 1988"/>
              <a:gd name="T58" fmla="*/ 543 w 599"/>
              <a:gd name="T59" fmla="*/ 1823 h 1988"/>
              <a:gd name="T60" fmla="*/ 560 w 599"/>
              <a:gd name="T61" fmla="*/ 1882 h 1988"/>
              <a:gd name="T62" fmla="*/ 579 w 599"/>
              <a:gd name="T63" fmla="*/ 1936 h 1988"/>
              <a:gd name="T64" fmla="*/ 599 w 599"/>
              <a:gd name="T65" fmla="*/ 1988 h 19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9" h="1988">
                <a:moveTo>
                  <a:pt x="0" y="0"/>
                </a:moveTo>
                <a:lnTo>
                  <a:pt x="9" y="10"/>
                </a:lnTo>
                <a:lnTo>
                  <a:pt x="19" y="20"/>
                </a:lnTo>
                <a:lnTo>
                  <a:pt x="28" y="31"/>
                </a:lnTo>
                <a:lnTo>
                  <a:pt x="38" y="45"/>
                </a:lnTo>
                <a:lnTo>
                  <a:pt x="46" y="60"/>
                </a:lnTo>
                <a:lnTo>
                  <a:pt x="55" y="75"/>
                </a:lnTo>
                <a:lnTo>
                  <a:pt x="74" y="114"/>
                </a:lnTo>
                <a:lnTo>
                  <a:pt x="94" y="156"/>
                </a:lnTo>
                <a:lnTo>
                  <a:pt x="113" y="202"/>
                </a:lnTo>
                <a:lnTo>
                  <a:pt x="130" y="254"/>
                </a:lnTo>
                <a:lnTo>
                  <a:pt x="149" y="310"/>
                </a:lnTo>
                <a:lnTo>
                  <a:pt x="169" y="369"/>
                </a:lnTo>
                <a:lnTo>
                  <a:pt x="186" y="431"/>
                </a:lnTo>
                <a:lnTo>
                  <a:pt x="205" y="498"/>
                </a:lnTo>
                <a:lnTo>
                  <a:pt x="224" y="567"/>
                </a:lnTo>
                <a:lnTo>
                  <a:pt x="243" y="638"/>
                </a:lnTo>
                <a:lnTo>
                  <a:pt x="261" y="711"/>
                </a:lnTo>
                <a:lnTo>
                  <a:pt x="280" y="786"/>
                </a:lnTo>
                <a:lnTo>
                  <a:pt x="299" y="863"/>
                </a:lnTo>
                <a:lnTo>
                  <a:pt x="336" y="1018"/>
                </a:lnTo>
                <a:lnTo>
                  <a:pt x="374" y="1176"/>
                </a:lnTo>
                <a:lnTo>
                  <a:pt x="410" y="1331"/>
                </a:lnTo>
                <a:lnTo>
                  <a:pt x="430" y="1406"/>
                </a:lnTo>
                <a:lnTo>
                  <a:pt x="449" y="1481"/>
                </a:lnTo>
                <a:lnTo>
                  <a:pt x="468" y="1554"/>
                </a:lnTo>
                <a:lnTo>
                  <a:pt x="485" y="1625"/>
                </a:lnTo>
                <a:lnTo>
                  <a:pt x="505" y="1694"/>
                </a:lnTo>
                <a:lnTo>
                  <a:pt x="524" y="1759"/>
                </a:lnTo>
                <a:lnTo>
                  <a:pt x="543" y="1823"/>
                </a:lnTo>
                <a:lnTo>
                  <a:pt x="560" y="1882"/>
                </a:lnTo>
                <a:lnTo>
                  <a:pt x="579" y="1936"/>
                </a:lnTo>
                <a:lnTo>
                  <a:pt x="599" y="1988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17" name="Freeform 49">
            <a:extLst>
              <a:ext uri="{FF2B5EF4-FFF2-40B4-BE49-F238E27FC236}">
                <a16:creationId xmlns:a16="http://schemas.microsoft.com/office/drawing/2014/main" id="{3D726C38-EB76-B34C-8609-AECFB33A7702}"/>
              </a:ext>
            </a:extLst>
          </p:cNvPr>
          <p:cNvSpPr>
            <a:spLocks/>
          </p:cNvSpPr>
          <p:nvPr/>
        </p:nvSpPr>
        <p:spPr bwMode="auto">
          <a:xfrm>
            <a:off x="6173788" y="4219575"/>
            <a:ext cx="490537" cy="901700"/>
          </a:xfrm>
          <a:custGeom>
            <a:avLst/>
            <a:gdLst>
              <a:gd name="T0" fmla="*/ 0 w 601"/>
              <a:gd name="T1" fmla="*/ 0 h 1135"/>
              <a:gd name="T2" fmla="*/ 38 w 601"/>
              <a:gd name="T3" fmla="*/ 96 h 1135"/>
              <a:gd name="T4" fmla="*/ 74 w 601"/>
              <a:gd name="T5" fmla="*/ 188 h 1135"/>
              <a:gd name="T6" fmla="*/ 113 w 601"/>
              <a:gd name="T7" fmla="*/ 278 h 1135"/>
              <a:gd name="T8" fmla="*/ 149 w 601"/>
              <a:gd name="T9" fmla="*/ 365 h 1135"/>
              <a:gd name="T10" fmla="*/ 188 w 601"/>
              <a:gd name="T11" fmla="*/ 447 h 1135"/>
              <a:gd name="T12" fmla="*/ 224 w 601"/>
              <a:gd name="T13" fmla="*/ 528 h 1135"/>
              <a:gd name="T14" fmla="*/ 263 w 601"/>
              <a:gd name="T15" fmla="*/ 605 h 1135"/>
              <a:gd name="T16" fmla="*/ 299 w 601"/>
              <a:gd name="T17" fmla="*/ 678 h 1135"/>
              <a:gd name="T18" fmla="*/ 338 w 601"/>
              <a:gd name="T19" fmla="*/ 747 h 1135"/>
              <a:gd name="T20" fmla="*/ 376 w 601"/>
              <a:gd name="T21" fmla="*/ 812 h 1135"/>
              <a:gd name="T22" fmla="*/ 412 w 601"/>
              <a:gd name="T23" fmla="*/ 875 h 1135"/>
              <a:gd name="T24" fmla="*/ 451 w 601"/>
              <a:gd name="T25" fmla="*/ 935 h 1135"/>
              <a:gd name="T26" fmla="*/ 487 w 601"/>
              <a:gd name="T27" fmla="*/ 991 h 1135"/>
              <a:gd name="T28" fmla="*/ 526 w 601"/>
              <a:gd name="T29" fmla="*/ 1042 h 1135"/>
              <a:gd name="T30" fmla="*/ 562 w 601"/>
              <a:gd name="T31" fmla="*/ 1090 h 1135"/>
              <a:gd name="T32" fmla="*/ 601 w 601"/>
              <a:gd name="T33" fmla="*/ 1135 h 1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01" h="1135">
                <a:moveTo>
                  <a:pt x="0" y="0"/>
                </a:moveTo>
                <a:lnTo>
                  <a:pt x="38" y="96"/>
                </a:lnTo>
                <a:lnTo>
                  <a:pt x="74" y="188"/>
                </a:lnTo>
                <a:lnTo>
                  <a:pt x="113" y="278"/>
                </a:lnTo>
                <a:lnTo>
                  <a:pt x="149" y="365"/>
                </a:lnTo>
                <a:lnTo>
                  <a:pt x="188" y="447"/>
                </a:lnTo>
                <a:lnTo>
                  <a:pt x="224" y="528"/>
                </a:lnTo>
                <a:lnTo>
                  <a:pt x="263" y="605"/>
                </a:lnTo>
                <a:lnTo>
                  <a:pt x="299" y="678"/>
                </a:lnTo>
                <a:lnTo>
                  <a:pt x="338" y="747"/>
                </a:lnTo>
                <a:lnTo>
                  <a:pt x="376" y="812"/>
                </a:lnTo>
                <a:lnTo>
                  <a:pt x="412" y="875"/>
                </a:lnTo>
                <a:lnTo>
                  <a:pt x="451" y="935"/>
                </a:lnTo>
                <a:lnTo>
                  <a:pt x="487" y="991"/>
                </a:lnTo>
                <a:lnTo>
                  <a:pt x="526" y="1042"/>
                </a:lnTo>
                <a:lnTo>
                  <a:pt x="562" y="1090"/>
                </a:lnTo>
                <a:lnTo>
                  <a:pt x="601" y="1135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18" name="Freeform 50">
            <a:extLst>
              <a:ext uri="{FF2B5EF4-FFF2-40B4-BE49-F238E27FC236}">
                <a16:creationId xmlns:a16="http://schemas.microsoft.com/office/drawing/2014/main" id="{E667DBE7-2E11-994D-AE12-2CDAC4668E89}"/>
              </a:ext>
            </a:extLst>
          </p:cNvPr>
          <p:cNvSpPr>
            <a:spLocks/>
          </p:cNvSpPr>
          <p:nvPr/>
        </p:nvSpPr>
        <p:spPr bwMode="auto">
          <a:xfrm>
            <a:off x="6664325" y="5121275"/>
            <a:ext cx="492125" cy="185738"/>
          </a:xfrm>
          <a:custGeom>
            <a:avLst/>
            <a:gdLst>
              <a:gd name="T0" fmla="*/ 0 w 599"/>
              <a:gd name="T1" fmla="*/ 0 h 234"/>
              <a:gd name="T2" fmla="*/ 19 w 599"/>
              <a:gd name="T3" fmla="*/ 21 h 234"/>
              <a:gd name="T4" fmla="*/ 38 w 599"/>
              <a:gd name="T5" fmla="*/ 40 h 234"/>
              <a:gd name="T6" fmla="*/ 74 w 599"/>
              <a:gd name="T7" fmla="*/ 73 h 234"/>
              <a:gd name="T8" fmla="*/ 113 w 599"/>
              <a:gd name="T9" fmla="*/ 103 h 234"/>
              <a:gd name="T10" fmla="*/ 149 w 599"/>
              <a:gd name="T11" fmla="*/ 126 h 234"/>
              <a:gd name="T12" fmla="*/ 188 w 599"/>
              <a:gd name="T13" fmla="*/ 147 h 234"/>
              <a:gd name="T14" fmla="*/ 224 w 599"/>
              <a:gd name="T15" fmla="*/ 163 h 234"/>
              <a:gd name="T16" fmla="*/ 263 w 599"/>
              <a:gd name="T17" fmla="*/ 176 h 234"/>
              <a:gd name="T18" fmla="*/ 299 w 599"/>
              <a:gd name="T19" fmla="*/ 186 h 234"/>
              <a:gd name="T20" fmla="*/ 336 w 599"/>
              <a:gd name="T21" fmla="*/ 195 h 234"/>
              <a:gd name="T22" fmla="*/ 374 w 599"/>
              <a:gd name="T23" fmla="*/ 201 h 234"/>
              <a:gd name="T24" fmla="*/ 449 w 599"/>
              <a:gd name="T25" fmla="*/ 211 h 234"/>
              <a:gd name="T26" fmla="*/ 524 w 599"/>
              <a:gd name="T27" fmla="*/ 220 h 234"/>
              <a:gd name="T28" fmla="*/ 560 w 599"/>
              <a:gd name="T29" fmla="*/ 226 h 234"/>
              <a:gd name="T30" fmla="*/ 599 w 599"/>
              <a:gd name="T31" fmla="*/ 234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99" h="234">
                <a:moveTo>
                  <a:pt x="0" y="0"/>
                </a:moveTo>
                <a:lnTo>
                  <a:pt x="19" y="21"/>
                </a:lnTo>
                <a:lnTo>
                  <a:pt x="38" y="40"/>
                </a:lnTo>
                <a:lnTo>
                  <a:pt x="74" y="73"/>
                </a:lnTo>
                <a:lnTo>
                  <a:pt x="113" y="103"/>
                </a:lnTo>
                <a:lnTo>
                  <a:pt x="149" y="126"/>
                </a:lnTo>
                <a:lnTo>
                  <a:pt x="188" y="147"/>
                </a:lnTo>
                <a:lnTo>
                  <a:pt x="224" y="163"/>
                </a:lnTo>
                <a:lnTo>
                  <a:pt x="263" y="176"/>
                </a:lnTo>
                <a:lnTo>
                  <a:pt x="299" y="186"/>
                </a:lnTo>
                <a:lnTo>
                  <a:pt x="336" y="195"/>
                </a:lnTo>
                <a:lnTo>
                  <a:pt x="374" y="201"/>
                </a:lnTo>
                <a:lnTo>
                  <a:pt x="449" y="211"/>
                </a:lnTo>
                <a:lnTo>
                  <a:pt x="524" y="220"/>
                </a:lnTo>
                <a:lnTo>
                  <a:pt x="560" y="226"/>
                </a:lnTo>
                <a:lnTo>
                  <a:pt x="599" y="234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19" name="Freeform 51">
            <a:extLst>
              <a:ext uri="{FF2B5EF4-FFF2-40B4-BE49-F238E27FC236}">
                <a16:creationId xmlns:a16="http://schemas.microsoft.com/office/drawing/2014/main" id="{272040F9-FDA8-F54B-AA27-FC8393CCA8FB}"/>
              </a:ext>
            </a:extLst>
          </p:cNvPr>
          <p:cNvSpPr>
            <a:spLocks/>
          </p:cNvSpPr>
          <p:nvPr/>
        </p:nvSpPr>
        <p:spPr bwMode="auto">
          <a:xfrm>
            <a:off x="7156450" y="5307013"/>
            <a:ext cx="492125" cy="15875"/>
          </a:xfrm>
          <a:custGeom>
            <a:avLst/>
            <a:gdLst>
              <a:gd name="T0" fmla="*/ 0 w 600"/>
              <a:gd name="T1" fmla="*/ 0 h 21"/>
              <a:gd name="T2" fmla="*/ 38 w 600"/>
              <a:gd name="T3" fmla="*/ 8 h 21"/>
              <a:gd name="T4" fmla="*/ 74 w 600"/>
              <a:gd name="T5" fmla="*/ 11 h 21"/>
              <a:gd name="T6" fmla="*/ 149 w 600"/>
              <a:gd name="T7" fmla="*/ 19 h 21"/>
              <a:gd name="T8" fmla="*/ 224 w 600"/>
              <a:gd name="T9" fmla="*/ 21 h 21"/>
              <a:gd name="T10" fmla="*/ 299 w 600"/>
              <a:gd name="T11" fmla="*/ 21 h 21"/>
              <a:gd name="T12" fmla="*/ 376 w 600"/>
              <a:gd name="T13" fmla="*/ 19 h 21"/>
              <a:gd name="T14" fmla="*/ 451 w 600"/>
              <a:gd name="T15" fmla="*/ 17 h 21"/>
              <a:gd name="T16" fmla="*/ 526 w 600"/>
              <a:gd name="T17" fmla="*/ 15 h 21"/>
              <a:gd name="T18" fmla="*/ 600 w 600"/>
              <a:gd name="T19" fmla="*/ 15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00" h="21">
                <a:moveTo>
                  <a:pt x="0" y="0"/>
                </a:moveTo>
                <a:lnTo>
                  <a:pt x="38" y="8"/>
                </a:lnTo>
                <a:lnTo>
                  <a:pt x="74" y="11"/>
                </a:lnTo>
                <a:lnTo>
                  <a:pt x="149" y="19"/>
                </a:lnTo>
                <a:lnTo>
                  <a:pt x="224" y="21"/>
                </a:lnTo>
                <a:lnTo>
                  <a:pt x="299" y="21"/>
                </a:lnTo>
                <a:lnTo>
                  <a:pt x="376" y="19"/>
                </a:lnTo>
                <a:lnTo>
                  <a:pt x="451" y="17"/>
                </a:lnTo>
                <a:lnTo>
                  <a:pt x="526" y="15"/>
                </a:lnTo>
                <a:lnTo>
                  <a:pt x="600" y="15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20" name="Rectangle 52">
            <a:extLst>
              <a:ext uri="{FF2B5EF4-FFF2-40B4-BE49-F238E27FC236}">
                <a16:creationId xmlns:a16="http://schemas.microsoft.com/office/drawing/2014/main" id="{EADCDAAA-8991-784E-90D0-2A0D9D6462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0438" y="5305425"/>
            <a:ext cx="26987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21" name="Rectangle 53">
            <a:extLst>
              <a:ext uri="{FF2B5EF4-FFF2-40B4-BE49-F238E27FC236}">
                <a16:creationId xmlns:a16="http://schemas.microsoft.com/office/drawing/2014/main" id="{5F389CDA-124A-F446-9997-0769B43916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0975" y="5280025"/>
            <a:ext cx="26988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22" name="Rectangle 54">
            <a:extLst>
              <a:ext uri="{FF2B5EF4-FFF2-40B4-BE49-F238E27FC236}">
                <a16:creationId xmlns:a16="http://schemas.microsoft.com/office/drawing/2014/main" id="{D8875237-C0EA-A74A-AD99-9FB0D9B995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1513" y="5132388"/>
            <a:ext cx="28575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23" name="Rectangle 55">
            <a:extLst>
              <a:ext uri="{FF2B5EF4-FFF2-40B4-BE49-F238E27FC236}">
                <a16:creationId xmlns:a16="http://schemas.microsoft.com/office/drawing/2014/main" id="{9D7E5A5A-ACC5-714B-A661-697FB1D401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5225" y="4583113"/>
            <a:ext cx="23813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24" name="Rectangle 56">
            <a:extLst>
              <a:ext uri="{FF2B5EF4-FFF2-40B4-BE49-F238E27FC236}">
                <a16:creationId xmlns:a16="http://schemas.microsoft.com/office/drawing/2014/main" id="{514799E0-E737-5546-A6E2-F11BDC969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5763" y="3746500"/>
            <a:ext cx="26987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25" name="Rectangle 57">
            <a:extLst>
              <a:ext uri="{FF2B5EF4-FFF2-40B4-BE49-F238E27FC236}">
                <a16:creationId xmlns:a16="http://schemas.microsoft.com/office/drawing/2014/main" id="{FF9F3131-E76B-844E-8154-0ACA654DD8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888" y="3224213"/>
            <a:ext cx="26987" cy="2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26" name="Rectangle 58">
            <a:extLst>
              <a:ext uri="{FF2B5EF4-FFF2-40B4-BE49-F238E27FC236}">
                <a16:creationId xmlns:a16="http://schemas.microsoft.com/office/drawing/2014/main" id="{9D506C3E-C6BF-0E47-8CC4-E32D9FE54A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6838" y="3841750"/>
            <a:ext cx="26987" cy="2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27" name="Rectangle 59">
            <a:extLst>
              <a:ext uri="{FF2B5EF4-FFF2-40B4-BE49-F238E27FC236}">
                <a16:creationId xmlns:a16="http://schemas.microsoft.com/office/drawing/2014/main" id="{7C1397D9-2E13-2945-8327-C6F68E30D6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0550" y="4872038"/>
            <a:ext cx="26988" cy="2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28" name="Rectangle 60">
            <a:extLst>
              <a:ext uri="{FF2B5EF4-FFF2-40B4-BE49-F238E27FC236}">
                <a16:creationId xmlns:a16="http://schemas.microsoft.com/office/drawing/2014/main" id="{E4946F0B-587C-6E4B-9B3C-B8F1E173B8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1088" y="5265738"/>
            <a:ext cx="25400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29" name="Rectangle 61">
            <a:extLst>
              <a:ext uri="{FF2B5EF4-FFF2-40B4-BE49-F238E27FC236}">
                <a16:creationId xmlns:a16="http://schemas.microsoft.com/office/drawing/2014/main" id="{C862C16F-C1A4-9B46-BBC8-3BE64E12D0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3213" y="5300663"/>
            <a:ext cx="25400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30" name="Rectangle 62">
            <a:extLst>
              <a:ext uri="{FF2B5EF4-FFF2-40B4-BE49-F238E27FC236}">
                <a16:creationId xmlns:a16="http://schemas.microsoft.com/office/drawing/2014/main" id="{9C0CA27B-1249-8346-A405-67BDF94B52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0975" y="5305425"/>
            <a:ext cx="26988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31" name="Rectangle 63">
            <a:extLst>
              <a:ext uri="{FF2B5EF4-FFF2-40B4-BE49-F238E27FC236}">
                <a16:creationId xmlns:a16="http://schemas.microsoft.com/office/drawing/2014/main" id="{E89D3F0B-DAFC-9647-BF7F-401B51840C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1513" y="5295900"/>
            <a:ext cx="28575" cy="2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32" name="Rectangle 64">
            <a:extLst>
              <a:ext uri="{FF2B5EF4-FFF2-40B4-BE49-F238E27FC236}">
                <a16:creationId xmlns:a16="http://schemas.microsoft.com/office/drawing/2014/main" id="{370667FA-FD35-8547-8902-FD27C96670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5225" y="5181600"/>
            <a:ext cx="23813" cy="2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33" name="Rectangle 65">
            <a:extLst>
              <a:ext uri="{FF2B5EF4-FFF2-40B4-BE49-F238E27FC236}">
                <a16:creationId xmlns:a16="http://schemas.microsoft.com/office/drawing/2014/main" id="{822A0724-E053-BD4A-93E8-79F76AB0E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5763" y="4743450"/>
            <a:ext cx="26987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34" name="Rectangle 66">
            <a:extLst>
              <a:ext uri="{FF2B5EF4-FFF2-40B4-BE49-F238E27FC236}">
                <a16:creationId xmlns:a16="http://schemas.microsoft.com/office/drawing/2014/main" id="{775E22B5-92A4-C14A-818E-5FCD93779D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888" y="3592513"/>
            <a:ext cx="26987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35" name="Rectangle 67">
            <a:extLst>
              <a:ext uri="{FF2B5EF4-FFF2-40B4-BE49-F238E27FC236}">
                <a16:creationId xmlns:a16="http://schemas.microsoft.com/office/drawing/2014/main" id="{EBCD279E-6519-0041-A88F-F0DF71871E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6838" y="2851150"/>
            <a:ext cx="26987" cy="2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36" name="Rectangle 68">
            <a:extLst>
              <a:ext uri="{FF2B5EF4-FFF2-40B4-BE49-F238E27FC236}">
                <a16:creationId xmlns:a16="http://schemas.microsoft.com/office/drawing/2014/main" id="{A9B21CCE-19AE-FE49-83F8-2283A3C6CD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0550" y="3944938"/>
            <a:ext cx="26988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37" name="Rectangle 69">
            <a:extLst>
              <a:ext uri="{FF2B5EF4-FFF2-40B4-BE49-F238E27FC236}">
                <a16:creationId xmlns:a16="http://schemas.microsoft.com/office/drawing/2014/main" id="{2A9C4952-B823-B64A-B966-A4E0B2BD26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1088" y="5043488"/>
            <a:ext cx="25400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38" name="Rectangle 70">
            <a:extLst>
              <a:ext uri="{FF2B5EF4-FFF2-40B4-BE49-F238E27FC236}">
                <a16:creationId xmlns:a16="http://schemas.microsoft.com/office/drawing/2014/main" id="{35649D6B-B353-9742-BCA2-F5DB8D2494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3213" y="5287963"/>
            <a:ext cx="25400" cy="2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39" name="Rectangle 71">
            <a:extLst>
              <a:ext uri="{FF2B5EF4-FFF2-40B4-BE49-F238E27FC236}">
                <a16:creationId xmlns:a16="http://schemas.microsoft.com/office/drawing/2014/main" id="{592931CD-6BFF-3A41-BA20-BBDE02D0CB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3750" y="5303838"/>
            <a:ext cx="26988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40" name="Rectangle 72">
            <a:extLst>
              <a:ext uri="{FF2B5EF4-FFF2-40B4-BE49-F238E27FC236}">
                <a16:creationId xmlns:a16="http://schemas.microsoft.com/office/drawing/2014/main" id="{FEC06778-0485-154D-BB4B-3524628E4A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1513" y="5303838"/>
            <a:ext cx="28575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41" name="Rectangle 73">
            <a:extLst>
              <a:ext uri="{FF2B5EF4-FFF2-40B4-BE49-F238E27FC236}">
                <a16:creationId xmlns:a16="http://schemas.microsoft.com/office/drawing/2014/main" id="{25AC7FD9-964B-874C-B647-B2E88C44D4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5225" y="5295900"/>
            <a:ext cx="23813" cy="2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42" name="Rectangle 74">
            <a:extLst>
              <a:ext uri="{FF2B5EF4-FFF2-40B4-BE49-F238E27FC236}">
                <a16:creationId xmlns:a16="http://schemas.microsoft.com/office/drawing/2014/main" id="{812B831D-70E5-FB4C-BEB0-57A9866A98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5763" y="5222875"/>
            <a:ext cx="26987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43" name="Rectangle 75">
            <a:extLst>
              <a:ext uri="{FF2B5EF4-FFF2-40B4-BE49-F238E27FC236}">
                <a16:creationId xmlns:a16="http://schemas.microsoft.com/office/drawing/2014/main" id="{F5D8956E-ED03-C249-AD40-C28D448F1E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888" y="4776788"/>
            <a:ext cx="26987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44" name="Rectangle 76">
            <a:extLst>
              <a:ext uri="{FF2B5EF4-FFF2-40B4-BE49-F238E27FC236}">
                <a16:creationId xmlns:a16="http://schemas.microsoft.com/office/drawing/2014/main" id="{D91C228D-C3C9-1F40-93EB-1EE4BD4EDB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6838" y="3402013"/>
            <a:ext cx="26987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45" name="Rectangle 77">
            <a:extLst>
              <a:ext uri="{FF2B5EF4-FFF2-40B4-BE49-F238E27FC236}">
                <a16:creationId xmlns:a16="http://schemas.microsoft.com/office/drawing/2014/main" id="{5A6FC532-4709-4E44-8AE1-058075365F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0550" y="2630488"/>
            <a:ext cx="26988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46" name="Rectangle 78">
            <a:extLst>
              <a:ext uri="{FF2B5EF4-FFF2-40B4-BE49-F238E27FC236}">
                <a16:creationId xmlns:a16="http://schemas.microsoft.com/office/drawing/2014/main" id="{9124EB4A-1B52-2746-88AD-E412A64AA1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1088" y="4208463"/>
            <a:ext cx="25400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47" name="Rectangle 79">
            <a:extLst>
              <a:ext uri="{FF2B5EF4-FFF2-40B4-BE49-F238E27FC236}">
                <a16:creationId xmlns:a16="http://schemas.microsoft.com/office/drawing/2014/main" id="{471D6D59-B40B-8D47-A74C-4E21504222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3213" y="5108575"/>
            <a:ext cx="25400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48" name="Rectangle 80">
            <a:extLst>
              <a:ext uri="{FF2B5EF4-FFF2-40B4-BE49-F238E27FC236}">
                <a16:creationId xmlns:a16="http://schemas.microsoft.com/office/drawing/2014/main" id="{3BC1170F-7422-6046-AFF2-BEF990DC9F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3750" y="5294313"/>
            <a:ext cx="26988" cy="2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49" name="Rectangle 81">
            <a:extLst>
              <a:ext uri="{FF2B5EF4-FFF2-40B4-BE49-F238E27FC236}">
                <a16:creationId xmlns:a16="http://schemas.microsoft.com/office/drawing/2014/main" id="{EA4EBEDE-CCCB-2242-87CE-E4E83D721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5875" y="5307013"/>
            <a:ext cx="26988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50" name="Rectangle 82">
            <a:extLst>
              <a:ext uri="{FF2B5EF4-FFF2-40B4-BE49-F238E27FC236}">
                <a16:creationId xmlns:a16="http://schemas.microsoft.com/office/drawing/2014/main" id="{EB4B0D25-3958-F143-9E77-D9CC1E6062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8925" y="5235575"/>
            <a:ext cx="904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0</a:t>
            </a:r>
            <a:endParaRPr lang="de-DE" altLang="de-DE" sz="1400"/>
          </a:p>
        </p:txBody>
      </p:sp>
      <p:sp>
        <p:nvSpPr>
          <p:cNvPr id="32851" name="Rectangle 83">
            <a:extLst>
              <a:ext uri="{FF2B5EF4-FFF2-40B4-BE49-F238E27FC236}">
                <a16:creationId xmlns:a16="http://schemas.microsoft.com/office/drawing/2014/main" id="{4CF8CE0C-6EFC-BE41-BBAC-98CD7B1C39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2088" y="4584700"/>
            <a:ext cx="184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10</a:t>
            </a:r>
            <a:endParaRPr lang="de-DE" altLang="de-DE" sz="1400"/>
          </a:p>
        </p:txBody>
      </p:sp>
      <p:sp>
        <p:nvSpPr>
          <p:cNvPr id="32852" name="Rectangle 84">
            <a:extLst>
              <a:ext uri="{FF2B5EF4-FFF2-40B4-BE49-F238E27FC236}">
                <a16:creationId xmlns:a16="http://schemas.microsoft.com/office/drawing/2014/main" id="{37A41393-218C-6C4F-810C-86BCA5C93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2088" y="3932238"/>
            <a:ext cx="184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20</a:t>
            </a:r>
            <a:endParaRPr lang="de-DE" altLang="de-DE" sz="1400"/>
          </a:p>
        </p:txBody>
      </p:sp>
      <p:sp>
        <p:nvSpPr>
          <p:cNvPr id="32853" name="Rectangle 85">
            <a:extLst>
              <a:ext uri="{FF2B5EF4-FFF2-40B4-BE49-F238E27FC236}">
                <a16:creationId xmlns:a16="http://schemas.microsoft.com/office/drawing/2014/main" id="{81791791-F18C-B64A-BAF2-4557B1518C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2088" y="3281363"/>
            <a:ext cx="184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30</a:t>
            </a:r>
            <a:endParaRPr lang="de-DE" altLang="de-DE" sz="1400"/>
          </a:p>
        </p:txBody>
      </p:sp>
      <p:sp>
        <p:nvSpPr>
          <p:cNvPr id="32854" name="Rectangle 86">
            <a:extLst>
              <a:ext uri="{FF2B5EF4-FFF2-40B4-BE49-F238E27FC236}">
                <a16:creationId xmlns:a16="http://schemas.microsoft.com/office/drawing/2014/main" id="{A5D0158F-A646-6646-B179-D39816FCD5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2088" y="2628900"/>
            <a:ext cx="184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40</a:t>
            </a:r>
            <a:endParaRPr lang="de-DE" altLang="de-DE" sz="1400"/>
          </a:p>
        </p:txBody>
      </p:sp>
      <p:sp>
        <p:nvSpPr>
          <p:cNvPr id="32855" name="Rectangle 87">
            <a:extLst>
              <a:ext uri="{FF2B5EF4-FFF2-40B4-BE49-F238E27FC236}">
                <a16:creationId xmlns:a16="http://schemas.microsoft.com/office/drawing/2014/main" id="{155987F0-38D4-564D-86E6-0B11D625AF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2088" y="1978025"/>
            <a:ext cx="184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50</a:t>
            </a:r>
            <a:endParaRPr lang="de-DE" altLang="de-DE" sz="1400"/>
          </a:p>
        </p:txBody>
      </p:sp>
      <p:sp>
        <p:nvSpPr>
          <p:cNvPr id="32856" name="Rectangle 88">
            <a:extLst>
              <a:ext uri="{FF2B5EF4-FFF2-40B4-BE49-F238E27FC236}">
                <a16:creationId xmlns:a16="http://schemas.microsoft.com/office/drawing/2014/main" id="{B3E047B5-A7F9-5B4C-AB90-DD003D7BEA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4175" y="5489575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200</a:t>
            </a:r>
            <a:endParaRPr lang="de-DE" altLang="de-DE" sz="1400"/>
          </a:p>
        </p:txBody>
      </p:sp>
      <p:sp>
        <p:nvSpPr>
          <p:cNvPr id="32857" name="Rectangle 89">
            <a:extLst>
              <a:ext uri="{FF2B5EF4-FFF2-40B4-BE49-F238E27FC236}">
                <a16:creationId xmlns:a16="http://schemas.microsoft.com/office/drawing/2014/main" id="{C93C10F5-0387-AF45-9D74-5B243880D0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6300" y="5489575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250</a:t>
            </a:r>
            <a:endParaRPr lang="de-DE" altLang="de-DE" sz="1400"/>
          </a:p>
        </p:txBody>
      </p:sp>
      <p:sp>
        <p:nvSpPr>
          <p:cNvPr id="32858" name="Rectangle 90">
            <a:extLst>
              <a:ext uri="{FF2B5EF4-FFF2-40B4-BE49-F238E27FC236}">
                <a16:creationId xmlns:a16="http://schemas.microsoft.com/office/drawing/2014/main" id="{C6BECD87-A02B-3648-9514-C654B3D191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8425" y="5489575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300</a:t>
            </a:r>
            <a:endParaRPr lang="de-DE" altLang="de-DE" sz="1400"/>
          </a:p>
        </p:txBody>
      </p:sp>
      <p:sp>
        <p:nvSpPr>
          <p:cNvPr id="32859" name="Rectangle 91">
            <a:extLst>
              <a:ext uri="{FF2B5EF4-FFF2-40B4-BE49-F238E27FC236}">
                <a16:creationId xmlns:a16="http://schemas.microsoft.com/office/drawing/2014/main" id="{7F80948C-5950-6D4F-94A3-E7A8DDA07B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8963" y="5489575"/>
            <a:ext cx="2714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350</a:t>
            </a:r>
            <a:endParaRPr lang="de-DE" altLang="de-DE" sz="1400"/>
          </a:p>
        </p:txBody>
      </p:sp>
      <p:sp>
        <p:nvSpPr>
          <p:cNvPr id="32860" name="Rectangle 92">
            <a:extLst>
              <a:ext uri="{FF2B5EF4-FFF2-40B4-BE49-F238E27FC236}">
                <a16:creationId xmlns:a16="http://schemas.microsoft.com/office/drawing/2014/main" id="{2A94F22B-D489-134D-A372-8CD4715351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1088" y="5489575"/>
            <a:ext cx="2714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400</a:t>
            </a:r>
            <a:endParaRPr lang="de-DE" altLang="de-DE" sz="1400"/>
          </a:p>
        </p:txBody>
      </p:sp>
      <p:sp>
        <p:nvSpPr>
          <p:cNvPr id="32861" name="Rectangle 93">
            <a:extLst>
              <a:ext uri="{FF2B5EF4-FFF2-40B4-BE49-F238E27FC236}">
                <a16:creationId xmlns:a16="http://schemas.microsoft.com/office/drawing/2014/main" id="{0F9866A7-2616-C242-A660-D4D478FEA3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3213" y="5489575"/>
            <a:ext cx="2714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450</a:t>
            </a:r>
            <a:endParaRPr lang="de-DE" altLang="de-DE" sz="1400"/>
          </a:p>
        </p:txBody>
      </p:sp>
      <p:sp>
        <p:nvSpPr>
          <p:cNvPr id="32862" name="Rectangle 94">
            <a:extLst>
              <a:ext uri="{FF2B5EF4-FFF2-40B4-BE49-F238E27FC236}">
                <a16:creationId xmlns:a16="http://schemas.microsoft.com/office/drawing/2014/main" id="{9813237F-9E46-8449-9579-564AC2C092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0575" y="5489575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500</a:t>
            </a:r>
            <a:endParaRPr lang="de-DE" altLang="de-DE" sz="1400"/>
          </a:p>
        </p:txBody>
      </p:sp>
      <p:sp>
        <p:nvSpPr>
          <p:cNvPr id="32863" name="Rectangle 95">
            <a:extLst>
              <a:ext uri="{FF2B5EF4-FFF2-40B4-BE49-F238E27FC236}">
                <a16:creationId xmlns:a16="http://schemas.microsoft.com/office/drawing/2014/main" id="{1EF13A7D-B595-4A40-8220-4D58B4370E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5875" y="5489575"/>
            <a:ext cx="2714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550</a:t>
            </a:r>
            <a:endParaRPr lang="de-DE" altLang="de-DE" sz="1400"/>
          </a:p>
        </p:txBody>
      </p:sp>
      <p:sp>
        <p:nvSpPr>
          <p:cNvPr id="32864" name="Rectangle 96">
            <a:extLst>
              <a:ext uri="{FF2B5EF4-FFF2-40B4-BE49-F238E27FC236}">
                <a16:creationId xmlns:a16="http://schemas.microsoft.com/office/drawing/2014/main" id="{E37BF576-0678-8B4D-B83D-B59AE8914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8000" y="5489575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600</a:t>
            </a:r>
            <a:endParaRPr lang="de-DE" altLang="de-DE" sz="1400"/>
          </a:p>
        </p:txBody>
      </p:sp>
      <p:sp>
        <p:nvSpPr>
          <p:cNvPr id="32865" name="Rectangle 97">
            <a:extLst>
              <a:ext uri="{FF2B5EF4-FFF2-40B4-BE49-F238E27FC236}">
                <a16:creationId xmlns:a16="http://schemas.microsoft.com/office/drawing/2014/main" id="{C3C3AC2D-2899-FD41-9C59-6DD2CF2837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8538" y="5489575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650</a:t>
            </a:r>
            <a:endParaRPr lang="de-DE" altLang="de-DE" sz="1400"/>
          </a:p>
        </p:txBody>
      </p:sp>
      <p:sp>
        <p:nvSpPr>
          <p:cNvPr id="32866" name="Rectangle 98">
            <a:extLst>
              <a:ext uri="{FF2B5EF4-FFF2-40B4-BE49-F238E27FC236}">
                <a16:creationId xmlns:a16="http://schemas.microsoft.com/office/drawing/2014/main" id="{7B052116-A0CF-CF40-8B98-122DA0DD99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9075" y="5489575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700</a:t>
            </a:r>
            <a:endParaRPr lang="de-DE" altLang="de-DE" sz="1400"/>
          </a:p>
        </p:txBody>
      </p:sp>
      <p:sp>
        <p:nvSpPr>
          <p:cNvPr id="32867" name="Rectangle 99">
            <a:extLst>
              <a:ext uri="{FF2B5EF4-FFF2-40B4-BE49-F238E27FC236}">
                <a16:creationId xmlns:a16="http://schemas.microsoft.com/office/drawing/2014/main" id="{07452274-47D2-2C48-BCC2-05289DAAEA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8025" y="5489575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750</a:t>
            </a:r>
            <a:endParaRPr lang="de-DE" altLang="de-DE" sz="1400"/>
          </a:p>
        </p:txBody>
      </p:sp>
      <p:sp>
        <p:nvSpPr>
          <p:cNvPr id="32868" name="Rectangle 100">
            <a:extLst>
              <a:ext uri="{FF2B5EF4-FFF2-40B4-BE49-F238E27FC236}">
                <a16:creationId xmlns:a16="http://schemas.microsoft.com/office/drawing/2014/main" id="{B712D36F-EFD8-BE42-8719-8013020924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1738" y="5489575"/>
            <a:ext cx="2714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800</a:t>
            </a:r>
            <a:endParaRPr lang="de-DE" altLang="de-DE" sz="1400"/>
          </a:p>
        </p:txBody>
      </p:sp>
      <p:sp>
        <p:nvSpPr>
          <p:cNvPr id="32869" name="Rectangle 101">
            <a:extLst>
              <a:ext uri="{FF2B5EF4-FFF2-40B4-BE49-F238E27FC236}">
                <a16:creationId xmlns:a16="http://schemas.microsoft.com/office/drawing/2014/main" id="{9C60BD8B-63CB-B441-9331-BBFE2BEB690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903288" y="3692525"/>
            <a:ext cx="611187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Prozent</a:t>
            </a:r>
            <a:endParaRPr lang="de-DE" altLang="de-DE" sz="1400"/>
          </a:p>
        </p:txBody>
      </p:sp>
      <p:sp>
        <p:nvSpPr>
          <p:cNvPr id="32870" name="Rectangle 102">
            <a:extLst>
              <a:ext uri="{FF2B5EF4-FFF2-40B4-BE49-F238E27FC236}">
                <a16:creationId xmlns:a16="http://schemas.microsoft.com/office/drawing/2014/main" id="{CBF6443A-4C83-8843-87CD-F933479093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8700" y="1773238"/>
            <a:ext cx="4781550" cy="409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71" name="Line 103">
            <a:extLst>
              <a:ext uri="{FF2B5EF4-FFF2-40B4-BE49-F238E27FC236}">
                <a16:creationId xmlns:a16="http://schemas.microsoft.com/office/drawing/2014/main" id="{B52AD7D7-31B5-4545-A40E-AD7D309AAAF9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0" y="1989138"/>
            <a:ext cx="223838" cy="1587"/>
          </a:xfrm>
          <a:prstGeom prst="line">
            <a:avLst/>
          </a:prstGeom>
          <a:noFill/>
          <a:ln w="36513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72" name="Rectangle 104">
            <a:extLst>
              <a:ext uri="{FF2B5EF4-FFF2-40B4-BE49-F238E27FC236}">
                <a16:creationId xmlns:a16="http://schemas.microsoft.com/office/drawing/2014/main" id="{E3AC7C9F-DACD-6D4E-B980-99592E9105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7625" y="1976438"/>
            <a:ext cx="26988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73" name="Rectangle 105">
            <a:extLst>
              <a:ext uri="{FF2B5EF4-FFF2-40B4-BE49-F238E27FC236}">
                <a16:creationId xmlns:a16="http://schemas.microsoft.com/office/drawing/2014/main" id="{BDAB236B-E081-DF44-A364-71C576C32C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3850" y="1882775"/>
            <a:ext cx="9096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Hauptschule</a:t>
            </a:r>
            <a:endParaRPr lang="de-DE" altLang="de-DE" sz="1400"/>
          </a:p>
        </p:txBody>
      </p:sp>
      <p:sp>
        <p:nvSpPr>
          <p:cNvPr id="32874" name="Line 106">
            <a:extLst>
              <a:ext uri="{FF2B5EF4-FFF2-40B4-BE49-F238E27FC236}">
                <a16:creationId xmlns:a16="http://schemas.microsoft.com/office/drawing/2014/main" id="{1E0334CB-E152-7C49-9464-930B27843B7B}"/>
              </a:ext>
            </a:extLst>
          </p:cNvPr>
          <p:cNvSpPr>
            <a:spLocks noChangeShapeType="1"/>
          </p:cNvSpPr>
          <p:nvPr/>
        </p:nvSpPr>
        <p:spPr bwMode="auto">
          <a:xfrm>
            <a:off x="4137025" y="1989138"/>
            <a:ext cx="222250" cy="1587"/>
          </a:xfrm>
          <a:prstGeom prst="line">
            <a:avLst/>
          </a:prstGeom>
          <a:noFill/>
          <a:ln w="222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75" name="Rectangle 107">
            <a:extLst>
              <a:ext uri="{FF2B5EF4-FFF2-40B4-BE49-F238E27FC236}">
                <a16:creationId xmlns:a16="http://schemas.microsoft.com/office/drawing/2014/main" id="{A93763BE-92B8-2B43-9991-E9E073D9F3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5450" y="1976438"/>
            <a:ext cx="26988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76" name="Rectangle 108">
            <a:extLst>
              <a:ext uri="{FF2B5EF4-FFF2-40B4-BE49-F238E27FC236}">
                <a16:creationId xmlns:a16="http://schemas.microsoft.com/office/drawing/2014/main" id="{93556141-E62F-D044-B88A-CA018BB135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150" y="1882775"/>
            <a:ext cx="8096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Realschule</a:t>
            </a:r>
            <a:endParaRPr lang="de-DE" altLang="de-DE" sz="1400"/>
          </a:p>
        </p:txBody>
      </p:sp>
      <p:sp>
        <p:nvSpPr>
          <p:cNvPr id="32877" name="Line 109">
            <a:extLst>
              <a:ext uri="{FF2B5EF4-FFF2-40B4-BE49-F238E27FC236}">
                <a16:creationId xmlns:a16="http://schemas.microsoft.com/office/drawing/2014/main" id="{F9AF3109-8A1D-474A-A399-EC2055457419}"/>
              </a:ext>
            </a:extLst>
          </p:cNvPr>
          <p:cNvSpPr>
            <a:spLocks noChangeShapeType="1"/>
          </p:cNvSpPr>
          <p:nvPr/>
        </p:nvSpPr>
        <p:spPr bwMode="auto">
          <a:xfrm>
            <a:off x="5668963" y="1989138"/>
            <a:ext cx="223837" cy="1587"/>
          </a:xfrm>
          <a:prstGeom prst="line">
            <a:avLst/>
          </a:prstGeom>
          <a:noFill/>
          <a:ln w="222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78" name="Rectangle 110">
            <a:extLst>
              <a:ext uri="{FF2B5EF4-FFF2-40B4-BE49-F238E27FC236}">
                <a16:creationId xmlns:a16="http://schemas.microsoft.com/office/drawing/2014/main" id="{4476B691-267B-094F-8DE1-4F6690284E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7388" y="2020888"/>
            <a:ext cx="26987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79" name="Rectangle 111">
            <a:extLst>
              <a:ext uri="{FF2B5EF4-FFF2-40B4-BE49-F238E27FC236}">
                <a16:creationId xmlns:a16="http://schemas.microsoft.com/office/drawing/2014/main" id="{685BBDDD-6DF4-C54C-BB1B-27AB1F2305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35675" y="1882775"/>
            <a:ext cx="8731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Gymnasium</a:t>
            </a:r>
            <a:endParaRPr lang="de-DE" altLang="de-DE" sz="1400"/>
          </a:p>
        </p:txBody>
      </p:sp>
      <p:sp>
        <p:nvSpPr>
          <p:cNvPr id="32880" name="Rectangle 112">
            <a:extLst>
              <a:ext uri="{FF2B5EF4-FFF2-40B4-BE49-F238E27FC236}">
                <a16:creationId xmlns:a16="http://schemas.microsoft.com/office/drawing/2014/main" id="{0A832637-5906-1B4B-94AE-5B6B06BCEB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663" y="6162675"/>
            <a:ext cx="565785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81" name="Rectangle 113">
            <a:extLst>
              <a:ext uri="{FF2B5EF4-FFF2-40B4-BE49-F238E27FC236}">
                <a16:creationId xmlns:a16="http://schemas.microsoft.com/office/drawing/2014/main" id="{6E31303A-DADA-CB48-9A48-DB60249CAE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1250" y="6230938"/>
            <a:ext cx="2714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 b="1">
                <a:solidFill>
                  <a:srgbClr val="000000"/>
                </a:solidFill>
              </a:rPr>
              <a:t>      </a:t>
            </a:r>
            <a:endParaRPr lang="de-DE" altLang="de-DE" sz="1400"/>
          </a:p>
        </p:txBody>
      </p:sp>
      <p:sp>
        <p:nvSpPr>
          <p:cNvPr id="32882" name="Rectangle 114">
            <a:extLst>
              <a:ext uri="{FF2B5EF4-FFF2-40B4-BE49-F238E27FC236}">
                <a16:creationId xmlns:a16="http://schemas.microsoft.com/office/drawing/2014/main" id="{18BE667B-8BC3-5C4F-9D68-4CE875D75A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8288" y="6230938"/>
            <a:ext cx="12747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Kompetenzstufen</a:t>
            </a:r>
            <a:endParaRPr lang="de-DE" altLang="de-DE" sz="1400"/>
          </a:p>
        </p:txBody>
      </p:sp>
      <p:sp>
        <p:nvSpPr>
          <p:cNvPr id="32883" name="Rectangle 115">
            <a:extLst>
              <a:ext uri="{FF2B5EF4-FFF2-40B4-BE49-F238E27FC236}">
                <a16:creationId xmlns:a16="http://schemas.microsoft.com/office/drawing/2014/main" id="{465C0E74-3DCE-104C-A1E8-25C29CE3D6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97150" y="6230938"/>
            <a:ext cx="817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 b="1">
                <a:solidFill>
                  <a:srgbClr val="000000"/>
                </a:solidFill>
              </a:rPr>
              <a:t>                  </a:t>
            </a:r>
            <a:endParaRPr lang="de-DE" altLang="de-DE" sz="1400"/>
          </a:p>
        </p:txBody>
      </p:sp>
      <p:sp>
        <p:nvSpPr>
          <p:cNvPr id="32884" name="Rectangle 116">
            <a:extLst>
              <a:ext uri="{FF2B5EF4-FFF2-40B4-BE49-F238E27FC236}">
                <a16:creationId xmlns:a16="http://schemas.microsoft.com/office/drawing/2014/main" id="{C46B811A-29C6-4746-9D2F-A3EF0B4542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76613" y="6230938"/>
            <a:ext cx="31527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         I                II               III            IV        </a:t>
            </a:r>
            <a:endParaRPr lang="de-DE" altLang="de-DE" sz="1400"/>
          </a:p>
        </p:txBody>
      </p:sp>
      <p:grpSp>
        <p:nvGrpSpPr>
          <p:cNvPr id="32885" name="Group 117">
            <a:extLst>
              <a:ext uri="{FF2B5EF4-FFF2-40B4-BE49-F238E27FC236}">
                <a16:creationId xmlns:a16="http://schemas.microsoft.com/office/drawing/2014/main" id="{8C3477E7-F4E8-C943-9FBA-F5042EE59FEE}"/>
              </a:ext>
            </a:extLst>
          </p:cNvPr>
          <p:cNvGrpSpPr>
            <a:grpSpLocks/>
          </p:cNvGrpSpPr>
          <p:nvPr/>
        </p:nvGrpSpPr>
        <p:grpSpPr bwMode="auto">
          <a:xfrm>
            <a:off x="2989263" y="6024563"/>
            <a:ext cx="3257550" cy="144462"/>
            <a:chOff x="2041" y="3795"/>
            <a:chExt cx="1989" cy="91"/>
          </a:xfrm>
        </p:grpSpPr>
        <p:sp>
          <p:nvSpPr>
            <p:cNvPr id="32886" name="Line 118">
              <a:extLst>
                <a:ext uri="{FF2B5EF4-FFF2-40B4-BE49-F238E27FC236}">
                  <a16:creationId xmlns:a16="http://schemas.microsoft.com/office/drawing/2014/main" id="{EE49D906-9676-0343-BDD7-36D24C7018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00" y="3840"/>
              <a:ext cx="1869" cy="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2887" name="Freeform 119">
              <a:extLst>
                <a:ext uri="{FF2B5EF4-FFF2-40B4-BE49-F238E27FC236}">
                  <a16:creationId xmlns:a16="http://schemas.microsoft.com/office/drawing/2014/main" id="{D05CB7F7-DB0D-924B-A7D0-9E7E5A75D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" y="3795"/>
              <a:ext cx="91" cy="91"/>
            </a:xfrm>
            <a:custGeom>
              <a:avLst/>
              <a:gdLst>
                <a:gd name="T0" fmla="*/ 182 w 182"/>
                <a:gd name="T1" fmla="*/ 0 h 183"/>
                <a:gd name="T2" fmla="*/ 0 w 182"/>
                <a:gd name="T3" fmla="*/ 91 h 183"/>
                <a:gd name="T4" fmla="*/ 182 w 182"/>
                <a:gd name="T5" fmla="*/ 183 h 183"/>
                <a:gd name="T6" fmla="*/ 125 w 182"/>
                <a:gd name="T7" fmla="*/ 91 h 183"/>
                <a:gd name="T8" fmla="*/ 182 w 182"/>
                <a:gd name="T9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183">
                  <a:moveTo>
                    <a:pt x="182" y="0"/>
                  </a:moveTo>
                  <a:lnTo>
                    <a:pt x="0" y="91"/>
                  </a:lnTo>
                  <a:lnTo>
                    <a:pt x="182" y="183"/>
                  </a:lnTo>
                  <a:lnTo>
                    <a:pt x="125" y="91"/>
                  </a:lnTo>
                  <a:lnTo>
                    <a:pt x="18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2888" name="Freeform 120">
              <a:extLst>
                <a:ext uri="{FF2B5EF4-FFF2-40B4-BE49-F238E27FC236}">
                  <a16:creationId xmlns:a16="http://schemas.microsoft.com/office/drawing/2014/main" id="{45D4F635-4DA7-7240-8A2D-1470CBF6CB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9" y="3795"/>
              <a:ext cx="91" cy="91"/>
            </a:xfrm>
            <a:custGeom>
              <a:avLst/>
              <a:gdLst>
                <a:gd name="T0" fmla="*/ 0 w 183"/>
                <a:gd name="T1" fmla="*/ 183 h 183"/>
                <a:gd name="T2" fmla="*/ 183 w 183"/>
                <a:gd name="T3" fmla="*/ 91 h 183"/>
                <a:gd name="T4" fmla="*/ 0 w 183"/>
                <a:gd name="T5" fmla="*/ 0 h 183"/>
                <a:gd name="T6" fmla="*/ 58 w 183"/>
                <a:gd name="T7" fmla="*/ 91 h 183"/>
                <a:gd name="T8" fmla="*/ 0 w 183"/>
                <a:gd name="T9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83">
                  <a:moveTo>
                    <a:pt x="0" y="183"/>
                  </a:moveTo>
                  <a:lnTo>
                    <a:pt x="183" y="91"/>
                  </a:lnTo>
                  <a:lnTo>
                    <a:pt x="0" y="0"/>
                  </a:lnTo>
                  <a:lnTo>
                    <a:pt x="58" y="91"/>
                  </a:lnTo>
                  <a:lnTo>
                    <a:pt x="0" y="1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32889" name="Line 121">
            <a:extLst>
              <a:ext uri="{FF2B5EF4-FFF2-40B4-BE49-F238E27FC236}">
                <a16:creationId xmlns:a16="http://schemas.microsoft.com/office/drawing/2014/main" id="{1374FF9A-B291-1A40-B0B7-DC1E6D870DED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3441700" y="5813425"/>
            <a:ext cx="1588" cy="28257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90" name="Freeform 122">
            <a:extLst>
              <a:ext uri="{FF2B5EF4-FFF2-40B4-BE49-F238E27FC236}">
                <a16:creationId xmlns:a16="http://schemas.microsoft.com/office/drawing/2014/main" id="{90AB38BA-43AB-E745-BCF1-F05BF5E6589F}"/>
              </a:ext>
            </a:extLst>
          </p:cNvPr>
          <p:cNvSpPr>
            <a:spLocks/>
          </p:cNvSpPr>
          <p:nvPr/>
        </p:nvSpPr>
        <p:spPr bwMode="auto">
          <a:xfrm>
            <a:off x="3394075" y="5715000"/>
            <a:ext cx="101600" cy="144463"/>
          </a:xfrm>
          <a:custGeom>
            <a:avLst/>
            <a:gdLst>
              <a:gd name="T0" fmla="*/ 125 w 125"/>
              <a:gd name="T1" fmla="*/ 183 h 183"/>
              <a:gd name="T2" fmla="*/ 64 w 125"/>
              <a:gd name="T3" fmla="*/ 0 h 183"/>
              <a:gd name="T4" fmla="*/ 0 w 125"/>
              <a:gd name="T5" fmla="*/ 183 h 183"/>
              <a:gd name="T6" fmla="*/ 64 w 125"/>
              <a:gd name="T7" fmla="*/ 125 h 183"/>
              <a:gd name="T8" fmla="*/ 125 w 125"/>
              <a:gd name="T9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5" h="183">
                <a:moveTo>
                  <a:pt x="125" y="183"/>
                </a:moveTo>
                <a:lnTo>
                  <a:pt x="64" y="0"/>
                </a:lnTo>
                <a:lnTo>
                  <a:pt x="0" y="183"/>
                </a:lnTo>
                <a:lnTo>
                  <a:pt x="64" y="125"/>
                </a:lnTo>
                <a:lnTo>
                  <a:pt x="125" y="18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32891" name="Group 123">
            <a:extLst>
              <a:ext uri="{FF2B5EF4-FFF2-40B4-BE49-F238E27FC236}">
                <a16:creationId xmlns:a16="http://schemas.microsoft.com/office/drawing/2014/main" id="{250CFEFE-A540-8A49-AA7C-639B229183AC}"/>
              </a:ext>
            </a:extLst>
          </p:cNvPr>
          <p:cNvGrpSpPr>
            <a:grpSpLocks/>
          </p:cNvGrpSpPr>
          <p:nvPr/>
        </p:nvGrpSpPr>
        <p:grpSpPr bwMode="auto">
          <a:xfrm>
            <a:off x="4140200" y="5715000"/>
            <a:ext cx="100013" cy="381000"/>
            <a:chOff x="2743" y="3600"/>
            <a:chExt cx="62" cy="240"/>
          </a:xfrm>
        </p:grpSpPr>
        <p:sp>
          <p:nvSpPr>
            <p:cNvPr id="32892" name="Line 124">
              <a:extLst>
                <a:ext uri="{FF2B5EF4-FFF2-40B4-BE49-F238E27FC236}">
                  <a16:creationId xmlns:a16="http://schemas.microsoft.com/office/drawing/2014/main" id="{50F8850A-B830-CE4F-ACE6-E0D3C8F42C1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73" y="3660"/>
              <a:ext cx="1" cy="18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2893" name="Freeform 125">
              <a:extLst>
                <a:ext uri="{FF2B5EF4-FFF2-40B4-BE49-F238E27FC236}">
                  <a16:creationId xmlns:a16="http://schemas.microsoft.com/office/drawing/2014/main" id="{AFE19AFA-6B10-CC47-B306-A8C12821C5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3" y="3600"/>
              <a:ext cx="62" cy="91"/>
            </a:xfrm>
            <a:custGeom>
              <a:avLst/>
              <a:gdLst>
                <a:gd name="T0" fmla="*/ 125 w 125"/>
                <a:gd name="T1" fmla="*/ 183 h 183"/>
                <a:gd name="T2" fmla="*/ 64 w 125"/>
                <a:gd name="T3" fmla="*/ 0 h 183"/>
                <a:gd name="T4" fmla="*/ 0 w 125"/>
                <a:gd name="T5" fmla="*/ 183 h 183"/>
                <a:gd name="T6" fmla="*/ 64 w 125"/>
                <a:gd name="T7" fmla="*/ 125 h 183"/>
                <a:gd name="T8" fmla="*/ 125 w 125"/>
                <a:gd name="T9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83">
                  <a:moveTo>
                    <a:pt x="125" y="183"/>
                  </a:moveTo>
                  <a:lnTo>
                    <a:pt x="64" y="0"/>
                  </a:lnTo>
                  <a:lnTo>
                    <a:pt x="0" y="183"/>
                  </a:lnTo>
                  <a:lnTo>
                    <a:pt x="64" y="125"/>
                  </a:lnTo>
                  <a:lnTo>
                    <a:pt x="125" y="1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32894" name="Line 126">
            <a:extLst>
              <a:ext uri="{FF2B5EF4-FFF2-40B4-BE49-F238E27FC236}">
                <a16:creationId xmlns:a16="http://schemas.microsoft.com/office/drawing/2014/main" id="{AC4261BA-B26F-8947-A479-5963D4497B76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695950" y="5810250"/>
            <a:ext cx="3175" cy="28575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95" name="Freeform 127">
            <a:extLst>
              <a:ext uri="{FF2B5EF4-FFF2-40B4-BE49-F238E27FC236}">
                <a16:creationId xmlns:a16="http://schemas.microsoft.com/office/drawing/2014/main" id="{AECD6BCB-E963-0A40-99E4-F27EE2DBAB76}"/>
              </a:ext>
            </a:extLst>
          </p:cNvPr>
          <p:cNvSpPr>
            <a:spLocks/>
          </p:cNvSpPr>
          <p:nvPr/>
        </p:nvSpPr>
        <p:spPr bwMode="auto">
          <a:xfrm>
            <a:off x="5648325" y="5715000"/>
            <a:ext cx="103188" cy="144463"/>
          </a:xfrm>
          <a:custGeom>
            <a:avLst/>
            <a:gdLst>
              <a:gd name="T0" fmla="*/ 125 w 125"/>
              <a:gd name="T1" fmla="*/ 183 h 183"/>
              <a:gd name="T2" fmla="*/ 64 w 125"/>
              <a:gd name="T3" fmla="*/ 0 h 183"/>
              <a:gd name="T4" fmla="*/ 0 w 125"/>
              <a:gd name="T5" fmla="*/ 183 h 183"/>
              <a:gd name="T6" fmla="*/ 64 w 125"/>
              <a:gd name="T7" fmla="*/ 125 h 183"/>
              <a:gd name="T8" fmla="*/ 125 w 125"/>
              <a:gd name="T9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5" h="183">
                <a:moveTo>
                  <a:pt x="125" y="183"/>
                </a:moveTo>
                <a:lnTo>
                  <a:pt x="64" y="0"/>
                </a:lnTo>
                <a:lnTo>
                  <a:pt x="0" y="183"/>
                </a:lnTo>
                <a:lnTo>
                  <a:pt x="64" y="125"/>
                </a:lnTo>
                <a:lnTo>
                  <a:pt x="125" y="18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32896" name="Group 128">
            <a:extLst>
              <a:ext uri="{FF2B5EF4-FFF2-40B4-BE49-F238E27FC236}">
                <a16:creationId xmlns:a16="http://schemas.microsoft.com/office/drawing/2014/main" id="{955D6762-2FEE-D84B-AD79-C0987DC6DEF0}"/>
              </a:ext>
            </a:extLst>
          </p:cNvPr>
          <p:cNvGrpSpPr>
            <a:grpSpLocks/>
          </p:cNvGrpSpPr>
          <p:nvPr/>
        </p:nvGrpSpPr>
        <p:grpSpPr bwMode="auto">
          <a:xfrm>
            <a:off x="4892675" y="5715000"/>
            <a:ext cx="103188" cy="381000"/>
            <a:chOff x="3203" y="3600"/>
            <a:chExt cx="63" cy="240"/>
          </a:xfrm>
        </p:grpSpPr>
        <p:sp>
          <p:nvSpPr>
            <p:cNvPr id="32897" name="Line 129">
              <a:extLst>
                <a:ext uri="{FF2B5EF4-FFF2-40B4-BE49-F238E27FC236}">
                  <a16:creationId xmlns:a16="http://schemas.microsoft.com/office/drawing/2014/main" id="{AA64E47B-A27C-8F40-A78A-2FC022C90F4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34" y="3660"/>
              <a:ext cx="1" cy="18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2898" name="Freeform 130">
              <a:extLst>
                <a:ext uri="{FF2B5EF4-FFF2-40B4-BE49-F238E27FC236}">
                  <a16:creationId xmlns:a16="http://schemas.microsoft.com/office/drawing/2014/main" id="{447B799E-0EF9-4D42-9F97-C42B37B4E6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3" y="3600"/>
              <a:ext cx="63" cy="91"/>
            </a:xfrm>
            <a:custGeom>
              <a:avLst/>
              <a:gdLst>
                <a:gd name="T0" fmla="*/ 125 w 125"/>
                <a:gd name="T1" fmla="*/ 183 h 183"/>
                <a:gd name="T2" fmla="*/ 63 w 125"/>
                <a:gd name="T3" fmla="*/ 0 h 183"/>
                <a:gd name="T4" fmla="*/ 0 w 125"/>
                <a:gd name="T5" fmla="*/ 183 h 183"/>
                <a:gd name="T6" fmla="*/ 63 w 125"/>
                <a:gd name="T7" fmla="*/ 125 h 183"/>
                <a:gd name="T8" fmla="*/ 125 w 125"/>
                <a:gd name="T9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83">
                  <a:moveTo>
                    <a:pt x="125" y="183"/>
                  </a:moveTo>
                  <a:lnTo>
                    <a:pt x="63" y="0"/>
                  </a:lnTo>
                  <a:lnTo>
                    <a:pt x="0" y="183"/>
                  </a:lnTo>
                  <a:lnTo>
                    <a:pt x="63" y="125"/>
                  </a:lnTo>
                  <a:lnTo>
                    <a:pt x="125" y="1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32899" name="Rectangle 131">
            <a:extLst>
              <a:ext uri="{FF2B5EF4-FFF2-40B4-BE49-F238E27FC236}">
                <a16:creationId xmlns:a16="http://schemas.microsoft.com/office/drawing/2014/main" id="{40C40591-E20A-DC4D-A670-F33D220BBD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49275"/>
            <a:ext cx="6751638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1pPr>
            <a:lvl2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2pPr>
            <a:lvl3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3pPr>
            <a:lvl4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4pPr>
            <a:lvl5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600" b="1">
                <a:solidFill>
                  <a:schemeClr val="bg2"/>
                </a:solidFill>
              </a:rPr>
              <a:t>Schullaufbahnempfehlungen von Lehrkräften differenziert nach Lesekompetenz in Prozent – Gesamtskala Lesen</a:t>
            </a:r>
          </a:p>
        </p:txBody>
      </p:sp>
      <p:sp>
        <p:nvSpPr>
          <p:cNvPr id="32900" name="Line 132">
            <a:extLst>
              <a:ext uri="{FF2B5EF4-FFF2-40B4-BE49-F238E27FC236}">
                <a16:creationId xmlns:a16="http://schemas.microsoft.com/office/drawing/2014/main" id="{21B36816-6A6E-4F4D-9C50-5AA0C6D3F98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459163" y="2182813"/>
            <a:ext cx="3175" cy="312420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901" name="Line 133">
            <a:extLst>
              <a:ext uri="{FF2B5EF4-FFF2-40B4-BE49-F238E27FC236}">
                <a16:creationId xmlns:a16="http://schemas.microsoft.com/office/drawing/2014/main" id="{C6EDCFD1-9214-0547-B95A-A87DA09CEC5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10050" y="2193925"/>
            <a:ext cx="1588" cy="3119438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902" name="Line 134">
            <a:extLst>
              <a:ext uri="{FF2B5EF4-FFF2-40B4-BE49-F238E27FC236}">
                <a16:creationId xmlns:a16="http://schemas.microsoft.com/office/drawing/2014/main" id="{A28F3028-4E98-7F48-BF58-D1C1FDF790CE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4957763" y="2184400"/>
            <a:ext cx="3175" cy="3135313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903" name="Line 135">
            <a:extLst>
              <a:ext uri="{FF2B5EF4-FFF2-40B4-BE49-F238E27FC236}">
                <a16:creationId xmlns:a16="http://schemas.microsoft.com/office/drawing/2014/main" id="{60DD09FE-0397-AE41-A944-7183C198C8C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684838" y="2185988"/>
            <a:ext cx="0" cy="313055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904" name="Line 136">
            <a:extLst>
              <a:ext uri="{FF2B5EF4-FFF2-40B4-BE49-F238E27FC236}">
                <a16:creationId xmlns:a16="http://schemas.microsoft.com/office/drawing/2014/main" id="{8B110A3C-210A-B848-B59D-7206787728E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49425" y="5319713"/>
            <a:ext cx="5899150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905" name="AutoShape 137">
            <a:extLst>
              <a:ext uri="{FF2B5EF4-FFF2-40B4-BE49-F238E27FC236}">
                <a16:creationId xmlns:a16="http://schemas.microsoft.com/office/drawing/2014/main" id="{79FC66E7-819C-634C-9F69-5617A6A5B9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6100" y="3644900"/>
            <a:ext cx="1511300" cy="1655763"/>
          </a:xfrm>
          <a:prstGeom prst="triangle">
            <a:avLst>
              <a:gd name="adj" fmla="val 50000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FF0000"/>
              </a:solidFill>
            </a:endParaRPr>
          </a:p>
        </p:txBody>
      </p:sp>
      <p:sp>
        <p:nvSpPr>
          <p:cNvPr id="32906" name="Rectangle 138">
            <a:extLst>
              <a:ext uri="{FF2B5EF4-FFF2-40B4-BE49-F238E27FC236}">
                <a16:creationId xmlns:a16="http://schemas.microsoft.com/office/drawing/2014/main" id="{7C4D714A-A0CB-9D42-A06F-52CF2327D5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7005638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1pPr>
            <a:lvl2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2pPr>
            <a:lvl3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3pPr>
            <a:lvl4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4pPr>
            <a:lvl5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2400" b="1"/>
              <a:t>Dreiteiliges Schulsystem: Realität 1</a:t>
            </a:r>
          </a:p>
        </p:txBody>
      </p:sp>
      <p:sp>
        <p:nvSpPr>
          <p:cNvPr id="32907" name="AutoShape 139">
            <a:extLst>
              <a:ext uri="{FF2B5EF4-FFF2-40B4-BE49-F238E27FC236}">
                <a16:creationId xmlns:a16="http://schemas.microsoft.com/office/drawing/2014/main" id="{3E367A5E-68CA-DC42-829C-B694E9BD0F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7175" y="4868863"/>
            <a:ext cx="1081088" cy="431800"/>
          </a:xfrm>
          <a:prstGeom prst="triangle">
            <a:avLst>
              <a:gd name="adj" fmla="val 50000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FF0000"/>
              </a:solidFill>
            </a:endParaRPr>
          </a:p>
        </p:txBody>
      </p:sp>
      <p:sp>
        <p:nvSpPr>
          <p:cNvPr id="32908" name="AutoShape 140">
            <a:extLst>
              <a:ext uri="{FF2B5EF4-FFF2-40B4-BE49-F238E27FC236}">
                <a16:creationId xmlns:a16="http://schemas.microsoft.com/office/drawing/2014/main" id="{46424D54-F3CB-614E-A212-7601D88F2E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825" y="4868863"/>
            <a:ext cx="1081088" cy="431800"/>
          </a:xfrm>
          <a:prstGeom prst="triangle">
            <a:avLst>
              <a:gd name="adj" fmla="val 50000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9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29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9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329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9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329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905" grpId="0" animBg="1"/>
      <p:bldP spid="32907" grpId="0" animBg="1"/>
      <p:bldP spid="3290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Fußzeilenplatzhalter 1">
            <a:extLst>
              <a:ext uri="{FF2B5EF4-FFF2-40B4-BE49-F238E27FC236}">
                <a16:creationId xmlns:a16="http://schemas.microsoft.com/office/drawing/2014/main" id="{46497246-450D-E847-90DE-B39462A5DB8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115" name="Foliennummernplatzhalter 2">
            <a:extLst>
              <a:ext uri="{FF2B5EF4-FFF2-40B4-BE49-F238E27FC236}">
                <a16:creationId xmlns:a16="http://schemas.microsoft.com/office/drawing/2014/main" id="{615C70D5-0105-BA47-B942-79A688E5D4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8351FE-4FBA-0D40-94B7-F62B1EBF9031}" type="slidenum">
              <a:rPr lang="de-DE" altLang="de-DE"/>
              <a:pPr/>
              <a:t>8</a:t>
            </a:fld>
            <a:endParaRPr lang="de-DE" altLang="de-DE"/>
          </a:p>
        </p:txBody>
      </p:sp>
      <p:sp>
        <p:nvSpPr>
          <p:cNvPr id="34818" name="Freeform 2">
            <a:extLst>
              <a:ext uri="{FF2B5EF4-FFF2-40B4-BE49-F238E27FC236}">
                <a16:creationId xmlns:a16="http://schemas.microsoft.com/office/drawing/2014/main" id="{3D60FD91-B9C0-454A-9ED0-BC213BE75EF9}"/>
              </a:ext>
            </a:extLst>
          </p:cNvPr>
          <p:cNvSpPr>
            <a:spLocks/>
          </p:cNvSpPr>
          <p:nvPr/>
        </p:nvSpPr>
        <p:spPr bwMode="auto">
          <a:xfrm>
            <a:off x="234950" y="5421313"/>
            <a:ext cx="455613" cy="1587"/>
          </a:xfrm>
          <a:custGeom>
            <a:avLst/>
            <a:gdLst>
              <a:gd name="T0" fmla="*/ 0 w 621"/>
              <a:gd name="T1" fmla="*/ 0 h 2"/>
              <a:gd name="T2" fmla="*/ 310 w 621"/>
              <a:gd name="T3" fmla="*/ 2 h 2"/>
              <a:gd name="T4" fmla="*/ 621 w 621"/>
              <a:gd name="T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21" h="2">
                <a:moveTo>
                  <a:pt x="0" y="0"/>
                </a:moveTo>
                <a:lnTo>
                  <a:pt x="310" y="2"/>
                </a:lnTo>
                <a:lnTo>
                  <a:pt x="621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6576">
                <a:solidFill>
                  <a:srgbClr val="FFFF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19" name="Freeform 3">
            <a:extLst>
              <a:ext uri="{FF2B5EF4-FFF2-40B4-BE49-F238E27FC236}">
                <a16:creationId xmlns:a16="http://schemas.microsoft.com/office/drawing/2014/main" id="{53271B4A-4A62-614D-A84B-4CA8B4D662D0}"/>
              </a:ext>
            </a:extLst>
          </p:cNvPr>
          <p:cNvSpPr>
            <a:spLocks/>
          </p:cNvSpPr>
          <p:nvPr/>
        </p:nvSpPr>
        <p:spPr bwMode="auto">
          <a:xfrm>
            <a:off x="690563" y="5419725"/>
            <a:ext cx="455612" cy="3175"/>
          </a:xfrm>
          <a:custGeom>
            <a:avLst/>
            <a:gdLst>
              <a:gd name="T0" fmla="*/ 0 w 621"/>
              <a:gd name="T1" fmla="*/ 4 h 4"/>
              <a:gd name="T2" fmla="*/ 311 w 621"/>
              <a:gd name="T3" fmla="*/ 4 h 4"/>
              <a:gd name="T4" fmla="*/ 466 w 621"/>
              <a:gd name="T5" fmla="*/ 2 h 4"/>
              <a:gd name="T6" fmla="*/ 621 w 621"/>
              <a:gd name="T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1" h="4">
                <a:moveTo>
                  <a:pt x="0" y="4"/>
                </a:moveTo>
                <a:lnTo>
                  <a:pt x="311" y="4"/>
                </a:lnTo>
                <a:lnTo>
                  <a:pt x="466" y="2"/>
                </a:lnTo>
                <a:lnTo>
                  <a:pt x="62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6576">
                <a:solidFill>
                  <a:srgbClr val="FFFF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20" name="Freeform 4">
            <a:extLst>
              <a:ext uri="{FF2B5EF4-FFF2-40B4-BE49-F238E27FC236}">
                <a16:creationId xmlns:a16="http://schemas.microsoft.com/office/drawing/2014/main" id="{C385D087-EAC3-E241-9396-044D08B7B018}"/>
              </a:ext>
            </a:extLst>
          </p:cNvPr>
          <p:cNvSpPr>
            <a:spLocks/>
          </p:cNvSpPr>
          <p:nvPr/>
        </p:nvSpPr>
        <p:spPr bwMode="auto">
          <a:xfrm>
            <a:off x="1146175" y="5422900"/>
            <a:ext cx="454025" cy="1588"/>
          </a:xfrm>
          <a:custGeom>
            <a:avLst/>
            <a:gdLst>
              <a:gd name="T0" fmla="*/ 0 w 622"/>
              <a:gd name="T1" fmla="*/ 2 h 2"/>
              <a:gd name="T2" fmla="*/ 311 w 622"/>
              <a:gd name="T3" fmla="*/ 2 h 2"/>
              <a:gd name="T4" fmla="*/ 466 w 622"/>
              <a:gd name="T5" fmla="*/ 2 h 2"/>
              <a:gd name="T6" fmla="*/ 622 w 622"/>
              <a:gd name="T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2" h="2">
                <a:moveTo>
                  <a:pt x="0" y="2"/>
                </a:moveTo>
                <a:lnTo>
                  <a:pt x="311" y="2"/>
                </a:lnTo>
                <a:lnTo>
                  <a:pt x="466" y="2"/>
                </a:lnTo>
                <a:lnTo>
                  <a:pt x="62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6576">
                <a:solidFill>
                  <a:srgbClr val="0000FF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21" name="Rectangle 5">
            <a:extLst>
              <a:ext uri="{FF2B5EF4-FFF2-40B4-BE49-F238E27FC236}">
                <a16:creationId xmlns:a16="http://schemas.microsoft.com/office/drawing/2014/main" id="{0F557F2C-9275-8F4C-A51E-2D6D428EDC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" y="1412875"/>
            <a:ext cx="8088313" cy="5029200"/>
          </a:xfrm>
          <a:prstGeom prst="rect">
            <a:avLst/>
          </a:prstGeom>
          <a:noFill/>
          <a:ln w="38100">
            <a:solidFill>
              <a:srgbClr val="FFFF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4822" name="Rectangle 6">
            <a:extLst>
              <a:ext uri="{FF2B5EF4-FFF2-40B4-BE49-F238E27FC236}">
                <a16:creationId xmlns:a16="http://schemas.microsoft.com/office/drawing/2014/main" id="{8FD51764-1966-2D4F-920A-D563BD108B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4250" y="6165850"/>
            <a:ext cx="6030913" cy="31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23" name="Rectangle 7">
            <a:extLst>
              <a:ext uri="{FF2B5EF4-FFF2-40B4-BE49-F238E27FC236}">
                <a16:creationId xmlns:a16="http://schemas.microsoft.com/office/drawing/2014/main" id="{A79ACB19-2844-6C45-8228-198B15E3CF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3" y="6188075"/>
            <a:ext cx="12731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Kompetenzstufen</a:t>
            </a:r>
            <a:endParaRPr lang="de-DE" altLang="de-DE" sz="1400"/>
          </a:p>
        </p:txBody>
      </p:sp>
      <p:sp>
        <p:nvSpPr>
          <p:cNvPr id="34824" name="Rectangle 8">
            <a:extLst>
              <a:ext uri="{FF2B5EF4-FFF2-40B4-BE49-F238E27FC236}">
                <a16:creationId xmlns:a16="http://schemas.microsoft.com/office/drawing/2014/main" id="{58523626-53B6-2344-A9FF-F6791B40ED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49500" y="6254750"/>
            <a:ext cx="412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200" b="1">
                <a:solidFill>
                  <a:srgbClr val="000000"/>
                </a:solidFill>
              </a:rPr>
              <a:t> </a:t>
            </a:r>
            <a:endParaRPr lang="de-DE" altLang="de-DE" sz="1400"/>
          </a:p>
        </p:txBody>
      </p:sp>
      <p:sp>
        <p:nvSpPr>
          <p:cNvPr id="34825" name="Rectangle 9">
            <a:extLst>
              <a:ext uri="{FF2B5EF4-FFF2-40B4-BE49-F238E27FC236}">
                <a16:creationId xmlns:a16="http://schemas.microsoft.com/office/drawing/2014/main" id="{A6312CC7-9A60-3344-BE04-C69FA70355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1075" y="6254750"/>
            <a:ext cx="44608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200">
                <a:solidFill>
                  <a:srgbClr val="000000"/>
                </a:solidFill>
              </a:rPr>
              <a:t> I                      II                          III                           IV                         V</a:t>
            </a:r>
            <a:endParaRPr lang="de-DE" altLang="de-DE" sz="1400"/>
          </a:p>
        </p:txBody>
      </p:sp>
      <p:sp>
        <p:nvSpPr>
          <p:cNvPr id="34826" name="Line 10">
            <a:extLst>
              <a:ext uri="{FF2B5EF4-FFF2-40B4-BE49-F238E27FC236}">
                <a16:creationId xmlns:a16="http://schemas.microsoft.com/office/drawing/2014/main" id="{2E66ACED-9667-7642-A4AB-526C1A3102F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5988" y="6119813"/>
            <a:ext cx="4757737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27" name="Freeform 11">
            <a:extLst>
              <a:ext uri="{FF2B5EF4-FFF2-40B4-BE49-F238E27FC236}">
                <a16:creationId xmlns:a16="http://schemas.microsoft.com/office/drawing/2014/main" id="{59E2946D-D28A-F147-BA87-298FBA6E64B8}"/>
              </a:ext>
            </a:extLst>
          </p:cNvPr>
          <p:cNvSpPr>
            <a:spLocks/>
          </p:cNvSpPr>
          <p:nvPr/>
        </p:nvSpPr>
        <p:spPr bwMode="auto">
          <a:xfrm>
            <a:off x="2089150" y="6064250"/>
            <a:ext cx="149225" cy="117475"/>
          </a:xfrm>
          <a:custGeom>
            <a:avLst/>
            <a:gdLst>
              <a:gd name="T0" fmla="*/ 182 w 182"/>
              <a:gd name="T1" fmla="*/ 0 h 184"/>
              <a:gd name="T2" fmla="*/ 0 w 182"/>
              <a:gd name="T3" fmla="*/ 91 h 184"/>
              <a:gd name="T4" fmla="*/ 182 w 182"/>
              <a:gd name="T5" fmla="*/ 184 h 184"/>
              <a:gd name="T6" fmla="*/ 124 w 182"/>
              <a:gd name="T7" fmla="*/ 91 h 184"/>
              <a:gd name="T8" fmla="*/ 182 w 182"/>
              <a:gd name="T9" fmla="*/ 0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2" h="184">
                <a:moveTo>
                  <a:pt x="182" y="0"/>
                </a:moveTo>
                <a:lnTo>
                  <a:pt x="0" y="91"/>
                </a:lnTo>
                <a:lnTo>
                  <a:pt x="182" y="184"/>
                </a:lnTo>
                <a:lnTo>
                  <a:pt x="124" y="91"/>
                </a:lnTo>
                <a:lnTo>
                  <a:pt x="182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28" name="Freeform 12">
            <a:extLst>
              <a:ext uri="{FF2B5EF4-FFF2-40B4-BE49-F238E27FC236}">
                <a16:creationId xmlns:a16="http://schemas.microsoft.com/office/drawing/2014/main" id="{67A9A7CA-CFC1-604A-BE6E-515F8D2B56BB}"/>
              </a:ext>
            </a:extLst>
          </p:cNvPr>
          <p:cNvSpPr>
            <a:spLocks/>
          </p:cNvSpPr>
          <p:nvPr/>
        </p:nvSpPr>
        <p:spPr bwMode="auto">
          <a:xfrm>
            <a:off x="6891338" y="6064250"/>
            <a:ext cx="147637" cy="117475"/>
          </a:xfrm>
          <a:custGeom>
            <a:avLst/>
            <a:gdLst>
              <a:gd name="T0" fmla="*/ 0 w 182"/>
              <a:gd name="T1" fmla="*/ 184 h 184"/>
              <a:gd name="T2" fmla="*/ 182 w 182"/>
              <a:gd name="T3" fmla="*/ 91 h 184"/>
              <a:gd name="T4" fmla="*/ 0 w 182"/>
              <a:gd name="T5" fmla="*/ 0 h 184"/>
              <a:gd name="T6" fmla="*/ 58 w 182"/>
              <a:gd name="T7" fmla="*/ 91 h 184"/>
              <a:gd name="T8" fmla="*/ 0 w 182"/>
              <a:gd name="T9" fmla="*/ 184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2" h="184">
                <a:moveTo>
                  <a:pt x="0" y="184"/>
                </a:moveTo>
                <a:lnTo>
                  <a:pt x="182" y="91"/>
                </a:lnTo>
                <a:lnTo>
                  <a:pt x="0" y="0"/>
                </a:lnTo>
                <a:lnTo>
                  <a:pt x="58" y="91"/>
                </a:lnTo>
                <a:lnTo>
                  <a:pt x="0" y="1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29" name="Line 13">
            <a:extLst>
              <a:ext uri="{FF2B5EF4-FFF2-40B4-BE49-F238E27FC236}">
                <a16:creationId xmlns:a16="http://schemas.microsoft.com/office/drawing/2014/main" id="{57BE8BAC-EB8E-D549-BB5A-E84C16F4706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95563" y="5827713"/>
            <a:ext cx="0" cy="29051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30" name="Freeform 14">
            <a:extLst>
              <a:ext uri="{FF2B5EF4-FFF2-40B4-BE49-F238E27FC236}">
                <a16:creationId xmlns:a16="http://schemas.microsoft.com/office/drawing/2014/main" id="{C614F543-8FB0-BF4A-8181-3F15201C1D87}"/>
              </a:ext>
            </a:extLst>
          </p:cNvPr>
          <p:cNvSpPr>
            <a:spLocks/>
          </p:cNvSpPr>
          <p:nvPr/>
        </p:nvSpPr>
        <p:spPr bwMode="auto">
          <a:xfrm>
            <a:off x="2543175" y="5732463"/>
            <a:ext cx="101600" cy="146050"/>
          </a:xfrm>
          <a:custGeom>
            <a:avLst/>
            <a:gdLst>
              <a:gd name="T0" fmla="*/ 126 w 126"/>
              <a:gd name="T1" fmla="*/ 184 h 184"/>
              <a:gd name="T2" fmla="*/ 64 w 126"/>
              <a:gd name="T3" fmla="*/ 0 h 184"/>
              <a:gd name="T4" fmla="*/ 0 w 126"/>
              <a:gd name="T5" fmla="*/ 184 h 184"/>
              <a:gd name="T6" fmla="*/ 64 w 126"/>
              <a:gd name="T7" fmla="*/ 126 h 184"/>
              <a:gd name="T8" fmla="*/ 126 w 126"/>
              <a:gd name="T9" fmla="*/ 184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84">
                <a:moveTo>
                  <a:pt x="126" y="184"/>
                </a:moveTo>
                <a:lnTo>
                  <a:pt x="64" y="0"/>
                </a:lnTo>
                <a:lnTo>
                  <a:pt x="0" y="184"/>
                </a:lnTo>
                <a:lnTo>
                  <a:pt x="64" y="126"/>
                </a:lnTo>
                <a:lnTo>
                  <a:pt x="126" y="1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31" name="Line 15">
            <a:extLst>
              <a:ext uri="{FF2B5EF4-FFF2-40B4-BE49-F238E27FC236}">
                <a16:creationId xmlns:a16="http://schemas.microsoft.com/office/drawing/2014/main" id="{4B15E949-A7CD-D744-BBD7-34236A9D1B5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03650" y="5838825"/>
            <a:ext cx="1588" cy="2809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32" name="Freeform 16">
            <a:extLst>
              <a:ext uri="{FF2B5EF4-FFF2-40B4-BE49-F238E27FC236}">
                <a16:creationId xmlns:a16="http://schemas.microsoft.com/office/drawing/2014/main" id="{7B1D8BFE-DEA5-8C43-80AF-7635D64880D8}"/>
              </a:ext>
            </a:extLst>
          </p:cNvPr>
          <p:cNvSpPr>
            <a:spLocks/>
          </p:cNvSpPr>
          <p:nvPr/>
        </p:nvSpPr>
        <p:spPr bwMode="auto">
          <a:xfrm>
            <a:off x="3752850" y="5745163"/>
            <a:ext cx="103188" cy="144462"/>
          </a:xfrm>
          <a:custGeom>
            <a:avLst/>
            <a:gdLst>
              <a:gd name="T0" fmla="*/ 126 w 126"/>
              <a:gd name="T1" fmla="*/ 183 h 183"/>
              <a:gd name="T2" fmla="*/ 64 w 126"/>
              <a:gd name="T3" fmla="*/ 0 h 183"/>
              <a:gd name="T4" fmla="*/ 0 w 126"/>
              <a:gd name="T5" fmla="*/ 183 h 183"/>
              <a:gd name="T6" fmla="*/ 64 w 126"/>
              <a:gd name="T7" fmla="*/ 124 h 183"/>
              <a:gd name="T8" fmla="*/ 126 w 126"/>
              <a:gd name="T9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83">
                <a:moveTo>
                  <a:pt x="126" y="183"/>
                </a:moveTo>
                <a:lnTo>
                  <a:pt x="64" y="0"/>
                </a:lnTo>
                <a:lnTo>
                  <a:pt x="0" y="183"/>
                </a:lnTo>
                <a:lnTo>
                  <a:pt x="64" y="124"/>
                </a:lnTo>
                <a:lnTo>
                  <a:pt x="126" y="18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33" name="Line 17">
            <a:extLst>
              <a:ext uri="{FF2B5EF4-FFF2-40B4-BE49-F238E27FC236}">
                <a16:creationId xmlns:a16="http://schemas.microsoft.com/office/drawing/2014/main" id="{396499F6-47D3-B74F-B731-494E3780C4C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86488" y="5838825"/>
            <a:ext cx="1587" cy="2794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34" name="Freeform 18">
            <a:extLst>
              <a:ext uri="{FF2B5EF4-FFF2-40B4-BE49-F238E27FC236}">
                <a16:creationId xmlns:a16="http://schemas.microsoft.com/office/drawing/2014/main" id="{B0E226B3-1059-ED47-9A92-97D41E657DFA}"/>
              </a:ext>
            </a:extLst>
          </p:cNvPr>
          <p:cNvSpPr>
            <a:spLocks/>
          </p:cNvSpPr>
          <p:nvPr/>
        </p:nvSpPr>
        <p:spPr bwMode="auto">
          <a:xfrm>
            <a:off x="6137275" y="5745163"/>
            <a:ext cx="101600" cy="144462"/>
          </a:xfrm>
          <a:custGeom>
            <a:avLst/>
            <a:gdLst>
              <a:gd name="T0" fmla="*/ 127 w 127"/>
              <a:gd name="T1" fmla="*/ 183 h 183"/>
              <a:gd name="T2" fmla="*/ 63 w 127"/>
              <a:gd name="T3" fmla="*/ 0 h 183"/>
              <a:gd name="T4" fmla="*/ 0 w 127"/>
              <a:gd name="T5" fmla="*/ 183 h 183"/>
              <a:gd name="T6" fmla="*/ 63 w 127"/>
              <a:gd name="T7" fmla="*/ 124 h 183"/>
              <a:gd name="T8" fmla="*/ 127 w 127"/>
              <a:gd name="T9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83">
                <a:moveTo>
                  <a:pt x="127" y="183"/>
                </a:moveTo>
                <a:lnTo>
                  <a:pt x="63" y="0"/>
                </a:lnTo>
                <a:lnTo>
                  <a:pt x="0" y="183"/>
                </a:lnTo>
                <a:lnTo>
                  <a:pt x="63" y="124"/>
                </a:lnTo>
                <a:lnTo>
                  <a:pt x="127" y="18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35" name="Line 19">
            <a:extLst>
              <a:ext uri="{FF2B5EF4-FFF2-40B4-BE49-F238E27FC236}">
                <a16:creationId xmlns:a16="http://schemas.microsoft.com/office/drawing/2014/main" id="{06CFC5FB-864E-8142-89FF-2E2E320CD3D5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4906963" y="5827713"/>
            <a:ext cx="1587" cy="29051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36" name="Freeform 20">
            <a:extLst>
              <a:ext uri="{FF2B5EF4-FFF2-40B4-BE49-F238E27FC236}">
                <a16:creationId xmlns:a16="http://schemas.microsoft.com/office/drawing/2014/main" id="{A56C26AE-417D-1843-9F84-20E84C4B956F}"/>
              </a:ext>
            </a:extLst>
          </p:cNvPr>
          <p:cNvSpPr>
            <a:spLocks/>
          </p:cNvSpPr>
          <p:nvPr/>
        </p:nvSpPr>
        <p:spPr bwMode="auto">
          <a:xfrm>
            <a:off x="4856163" y="5732463"/>
            <a:ext cx="101600" cy="146050"/>
          </a:xfrm>
          <a:custGeom>
            <a:avLst/>
            <a:gdLst>
              <a:gd name="T0" fmla="*/ 126 w 126"/>
              <a:gd name="T1" fmla="*/ 184 h 184"/>
              <a:gd name="T2" fmla="*/ 62 w 126"/>
              <a:gd name="T3" fmla="*/ 0 h 184"/>
              <a:gd name="T4" fmla="*/ 0 w 126"/>
              <a:gd name="T5" fmla="*/ 184 h 184"/>
              <a:gd name="T6" fmla="*/ 62 w 126"/>
              <a:gd name="T7" fmla="*/ 126 h 184"/>
              <a:gd name="T8" fmla="*/ 126 w 126"/>
              <a:gd name="T9" fmla="*/ 184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84">
                <a:moveTo>
                  <a:pt x="126" y="184"/>
                </a:moveTo>
                <a:lnTo>
                  <a:pt x="62" y="0"/>
                </a:lnTo>
                <a:lnTo>
                  <a:pt x="0" y="184"/>
                </a:lnTo>
                <a:lnTo>
                  <a:pt x="62" y="126"/>
                </a:lnTo>
                <a:lnTo>
                  <a:pt x="126" y="1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38" name="Line 22">
            <a:extLst>
              <a:ext uri="{FF2B5EF4-FFF2-40B4-BE49-F238E27FC236}">
                <a16:creationId xmlns:a16="http://schemas.microsoft.com/office/drawing/2014/main" id="{2F081D4E-8B01-DA4B-B9BF-90B01B66B5EB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4013" y="5427663"/>
            <a:ext cx="39687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39" name="Line 23">
            <a:extLst>
              <a:ext uri="{FF2B5EF4-FFF2-40B4-BE49-F238E27FC236}">
                <a16:creationId xmlns:a16="http://schemas.microsoft.com/office/drawing/2014/main" id="{BCC9B572-4C5C-AE43-A48A-C6A2F8DF7183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4013" y="4737100"/>
            <a:ext cx="39687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40" name="Line 24">
            <a:extLst>
              <a:ext uri="{FF2B5EF4-FFF2-40B4-BE49-F238E27FC236}">
                <a16:creationId xmlns:a16="http://schemas.microsoft.com/office/drawing/2014/main" id="{B886B913-88E2-FA47-A138-7E224BDF9EFC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4013" y="4049713"/>
            <a:ext cx="39687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41" name="Line 25">
            <a:extLst>
              <a:ext uri="{FF2B5EF4-FFF2-40B4-BE49-F238E27FC236}">
                <a16:creationId xmlns:a16="http://schemas.microsoft.com/office/drawing/2014/main" id="{FAF6A8F5-7E3C-C641-A6DC-8BDA27E07D73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4013" y="3360738"/>
            <a:ext cx="39687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42" name="Line 26">
            <a:extLst>
              <a:ext uri="{FF2B5EF4-FFF2-40B4-BE49-F238E27FC236}">
                <a16:creationId xmlns:a16="http://schemas.microsoft.com/office/drawing/2014/main" id="{2465A6C3-CEE0-9C47-B473-E02C7C24A8F7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4013" y="2673350"/>
            <a:ext cx="39687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43" name="Line 27">
            <a:extLst>
              <a:ext uri="{FF2B5EF4-FFF2-40B4-BE49-F238E27FC236}">
                <a16:creationId xmlns:a16="http://schemas.microsoft.com/office/drawing/2014/main" id="{C14A9942-193D-7645-8678-1807F0F2F9D1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4013" y="1984375"/>
            <a:ext cx="39687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44" name="Line 28">
            <a:extLst>
              <a:ext uri="{FF2B5EF4-FFF2-40B4-BE49-F238E27FC236}">
                <a16:creationId xmlns:a16="http://schemas.microsoft.com/office/drawing/2014/main" id="{1224D489-7414-6B49-8991-29723049E74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663700" y="5427663"/>
            <a:ext cx="1588" cy="396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45" name="Line 29">
            <a:extLst>
              <a:ext uri="{FF2B5EF4-FFF2-40B4-BE49-F238E27FC236}">
                <a16:creationId xmlns:a16="http://schemas.microsoft.com/office/drawing/2014/main" id="{0A82A18F-EB56-974D-88A6-11AACFE8352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68525" y="5427663"/>
            <a:ext cx="0" cy="396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46" name="Line 30">
            <a:extLst>
              <a:ext uri="{FF2B5EF4-FFF2-40B4-BE49-F238E27FC236}">
                <a16:creationId xmlns:a16="http://schemas.microsoft.com/office/drawing/2014/main" id="{41645681-E5E7-2E4C-BE87-06929177A77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70175" y="5427663"/>
            <a:ext cx="1588" cy="396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47" name="Line 31">
            <a:extLst>
              <a:ext uri="{FF2B5EF4-FFF2-40B4-BE49-F238E27FC236}">
                <a16:creationId xmlns:a16="http://schemas.microsoft.com/office/drawing/2014/main" id="{05A830E7-A83F-3F45-A11E-639923C1D71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71825" y="5429250"/>
            <a:ext cx="0" cy="396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48" name="Line 32">
            <a:extLst>
              <a:ext uri="{FF2B5EF4-FFF2-40B4-BE49-F238E27FC236}">
                <a16:creationId xmlns:a16="http://schemas.microsoft.com/office/drawing/2014/main" id="{78C3E05C-35A5-7547-9F08-14CC1E11652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73475" y="5429250"/>
            <a:ext cx="0" cy="396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49" name="Line 33">
            <a:extLst>
              <a:ext uri="{FF2B5EF4-FFF2-40B4-BE49-F238E27FC236}">
                <a16:creationId xmlns:a16="http://schemas.microsoft.com/office/drawing/2014/main" id="{73D71551-5A38-8443-91A0-ACB36D2003D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78300" y="5432425"/>
            <a:ext cx="0" cy="396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50" name="Line 34">
            <a:extLst>
              <a:ext uri="{FF2B5EF4-FFF2-40B4-BE49-F238E27FC236}">
                <a16:creationId xmlns:a16="http://schemas.microsoft.com/office/drawing/2014/main" id="{8D842161-4254-9E4C-8D52-64B705A79A84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4676775" y="5432425"/>
            <a:ext cx="0" cy="381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51" name="Line 35">
            <a:extLst>
              <a:ext uri="{FF2B5EF4-FFF2-40B4-BE49-F238E27FC236}">
                <a16:creationId xmlns:a16="http://schemas.microsoft.com/office/drawing/2014/main" id="{05D6F1E9-3B9F-3E4F-8DA7-4C49D166F30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178425" y="5430838"/>
            <a:ext cx="0" cy="4286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52" name="Line 36">
            <a:extLst>
              <a:ext uri="{FF2B5EF4-FFF2-40B4-BE49-F238E27FC236}">
                <a16:creationId xmlns:a16="http://schemas.microsoft.com/office/drawing/2014/main" id="{E1674889-EC2A-9B49-9277-5D15C12ED38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681663" y="5435600"/>
            <a:ext cx="0" cy="396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53" name="Line 37">
            <a:extLst>
              <a:ext uri="{FF2B5EF4-FFF2-40B4-BE49-F238E27FC236}">
                <a16:creationId xmlns:a16="http://schemas.microsoft.com/office/drawing/2014/main" id="{41D18455-8222-004C-BCF4-CD21275182F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83313" y="5427663"/>
            <a:ext cx="0" cy="396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54" name="Line 38">
            <a:extLst>
              <a:ext uri="{FF2B5EF4-FFF2-40B4-BE49-F238E27FC236}">
                <a16:creationId xmlns:a16="http://schemas.microsoft.com/office/drawing/2014/main" id="{93E9E7CF-536B-684A-8065-6A52B5B08BA1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6688138" y="5430838"/>
            <a:ext cx="0" cy="396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55" name="Line 39">
            <a:extLst>
              <a:ext uri="{FF2B5EF4-FFF2-40B4-BE49-F238E27FC236}">
                <a16:creationId xmlns:a16="http://schemas.microsoft.com/office/drawing/2014/main" id="{D1CAF05C-4467-BC46-AACC-AA607ED27A5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189788" y="5432425"/>
            <a:ext cx="1587" cy="396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56" name="Line 40">
            <a:extLst>
              <a:ext uri="{FF2B5EF4-FFF2-40B4-BE49-F238E27FC236}">
                <a16:creationId xmlns:a16="http://schemas.microsoft.com/office/drawing/2014/main" id="{7E6A668C-E5A4-F242-8112-BA415EB9113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89850" y="5427663"/>
            <a:ext cx="1588" cy="396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57" name="Freeform 41">
            <a:extLst>
              <a:ext uri="{FF2B5EF4-FFF2-40B4-BE49-F238E27FC236}">
                <a16:creationId xmlns:a16="http://schemas.microsoft.com/office/drawing/2014/main" id="{3EB2B3DA-89E9-664E-AFF7-22B7C04ED3FC}"/>
              </a:ext>
            </a:extLst>
          </p:cNvPr>
          <p:cNvSpPr>
            <a:spLocks/>
          </p:cNvSpPr>
          <p:nvPr/>
        </p:nvSpPr>
        <p:spPr bwMode="auto">
          <a:xfrm>
            <a:off x="1162050" y="5400675"/>
            <a:ext cx="501650" cy="19050"/>
          </a:xfrm>
          <a:custGeom>
            <a:avLst/>
            <a:gdLst>
              <a:gd name="T0" fmla="*/ 0 w 622"/>
              <a:gd name="T1" fmla="*/ 23 h 23"/>
              <a:gd name="T2" fmla="*/ 156 w 622"/>
              <a:gd name="T3" fmla="*/ 21 h 23"/>
              <a:gd name="T4" fmla="*/ 311 w 622"/>
              <a:gd name="T5" fmla="*/ 17 h 23"/>
              <a:gd name="T6" fmla="*/ 389 w 622"/>
              <a:gd name="T7" fmla="*/ 16 h 23"/>
              <a:gd name="T8" fmla="*/ 466 w 622"/>
              <a:gd name="T9" fmla="*/ 12 h 23"/>
              <a:gd name="T10" fmla="*/ 544 w 622"/>
              <a:gd name="T11" fmla="*/ 8 h 23"/>
              <a:gd name="T12" fmla="*/ 622 w 622"/>
              <a:gd name="T13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2" h="23">
                <a:moveTo>
                  <a:pt x="0" y="23"/>
                </a:moveTo>
                <a:lnTo>
                  <a:pt x="156" y="21"/>
                </a:lnTo>
                <a:lnTo>
                  <a:pt x="311" y="17"/>
                </a:lnTo>
                <a:lnTo>
                  <a:pt x="389" y="16"/>
                </a:lnTo>
                <a:lnTo>
                  <a:pt x="466" y="12"/>
                </a:lnTo>
                <a:lnTo>
                  <a:pt x="544" y="8"/>
                </a:lnTo>
                <a:lnTo>
                  <a:pt x="62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58" name="Freeform 42">
            <a:extLst>
              <a:ext uri="{FF2B5EF4-FFF2-40B4-BE49-F238E27FC236}">
                <a16:creationId xmlns:a16="http://schemas.microsoft.com/office/drawing/2014/main" id="{C5A6A963-44AA-004F-8B83-25630997E186}"/>
              </a:ext>
            </a:extLst>
          </p:cNvPr>
          <p:cNvSpPr>
            <a:spLocks/>
          </p:cNvSpPr>
          <p:nvPr/>
        </p:nvSpPr>
        <p:spPr bwMode="auto">
          <a:xfrm>
            <a:off x="1663700" y="5311775"/>
            <a:ext cx="501650" cy="88900"/>
          </a:xfrm>
          <a:custGeom>
            <a:avLst/>
            <a:gdLst>
              <a:gd name="T0" fmla="*/ 0 w 621"/>
              <a:gd name="T1" fmla="*/ 113 h 113"/>
              <a:gd name="T2" fmla="*/ 155 w 621"/>
              <a:gd name="T3" fmla="*/ 97 h 113"/>
              <a:gd name="T4" fmla="*/ 233 w 621"/>
              <a:gd name="T5" fmla="*/ 88 h 113"/>
              <a:gd name="T6" fmla="*/ 310 w 621"/>
              <a:gd name="T7" fmla="*/ 76 h 113"/>
              <a:gd name="T8" fmla="*/ 388 w 621"/>
              <a:gd name="T9" fmla="*/ 64 h 113"/>
              <a:gd name="T10" fmla="*/ 466 w 621"/>
              <a:gd name="T11" fmla="*/ 47 h 113"/>
              <a:gd name="T12" fmla="*/ 543 w 621"/>
              <a:gd name="T13" fmla="*/ 26 h 113"/>
              <a:gd name="T14" fmla="*/ 582 w 621"/>
              <a:gd name="T15" fmla="*/ 14 h 113"/>
              <a:gd name="T16" fmla="*/ 621 w 621"/>
              <a:gd name="T17" fmla="*/ 0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21" h="113">
                <a:moveTo>
                  <a:pt x="0" y="113"/>
                </a:moveTo>
                <a:lnTo>
                  <a:pt x="155" y="97"/>
                </a:lnTo>
                <a:lnTo>
                  <a:pt x="233" y="88"/>
                </a:lnTo>
                <a:lnTo>
                  <a:pt x="310" y="76"/>
                </a:lnTo>
                <a:lnTo>
                  <a:pt x="388" y="64"/>
                </a:lnTo>
                <a:lnTo>
                  <a:pt x="466" y="47"/>
                </a:lnTo>
                <a:lnTo>
                  <a:pt x="543" y="26"/>
                </a:lnTo>
                <a:lnTo>
                  <a:pt x="582" y="14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59" name="Freeform 43">
            <a:extLst>
              <a:ext uri="{FF2B5EF4-FFF2-40B4-BE49-F238E27FC236}">
                <a16:creationId xmlns:a16="http://schemas.microsoft.com/office/drawing/2014/main" id="{A165FC35-E0F3-2F46-8741-2B907F090BEC}"/>
              </a:ext>
            </a:extLst>
          </p:cNvPr>
          <p:cNvSpPr>
            <a:spLocks/>
          </p:cNvSpPr>
          <p:nvPr/>
        </p:nvSpPr>
        <p:spPr bwMode="auto">
          <a:xfrm>
            <a:off x="2165350" y="5035550"/>
            <a:ext cx="504825" cy="276225"/>
          </a:xfrm>
          <a:custGeom>
            <a:avLst/>
            <a:gdLst>
              <a:gd name="T0" fmla="*/ 0 w 621"/>
              <a:gd name="T1" fmla="*/ 347 h 347"/>
              <a:gd name="T2" fmla="*/ 78 w 621"/>
              <a:gd name="T3" fmla="*/ 318 h 347"/>
              <a:gd name="T4" fmla="*/ 155 w 621"/>
              <a:gd name="T5" fmla="*/ 285 h 347"/>
              <a:gd name="T6" fmla="*/ 233 w 621"/>
              <a:gd name="T7" fmla="*/ 250 h 347"/>
              <a:gd name="T8" fmla="*/ 311 w 621"/>
              <a:gd name="T9" fmla="*/ 211 h 347"/>
              <a:gd name="T10" fmla="*/ 388 w 621"/>
              <a:gd name="T11" fmla="*/ 167 h 347"/>
              <a:gd name="T12" fmla="*/ 427 w 621"/>
              <a:gd name="T13" fmla="*/ 143 h 347"/>
              <a:gd name="T14" fmla="*/ 466 w 621"/>
              <a:gd name="T15" fmla="*/ 118 h 347"/>
              <a:gd name="T16" fmla="*/ 505 w 621"/>
              <a:gd name="T17" fmla="*/ 91 h 347"/>
              <a:gd name="T18" fmla="*/ 544 w 621"/>
              <a:gd name="T19" fmla="*/ 62 h 347"/>
              <a:gd name="T20" fmla="*/ 583 w 621"/>
              <a:gd name="T21" fmla="*/ 33 h 347"/>
              <a:gd name="T22" fmla="*/ 621 w 621"/>
              <a:gd name="T23" fmla="*/ 0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21" h="347">
                <a:moveTo>
                  <a:pt x="0" y="347"/>
                </a:moveTo>
                <a:lnTo>
                  <a:pt x="78" y="318"/>
                </a:lnTo>
                <a:lnTo>
                  <a:pt x="155" y="285"/>
                </a:lnTo>
                <a:lnTo>
                  <a:pt x="233" y="250"/>
                </a:lnTo>
                <a:lnTo>
                  <a:pt x="311" y="211"/>
                </a:lnTo>
                <a:lnTo>
                  <a:pt x="388" y="167"/>
                </a:lnTo>
                <a:lnTo>
                  <a:pt x="427" y="143"/>
                </a:lnTo>
                <a:lnTo>
                  <a:pt x="466" y="118"/>
                </a:lnTo>
                <a:lnTo>
                  <a:pt x="505" y="91"/>
                </a:lnTo>
                <a:lnTo>
                  <a:pt x="544" y="62"/>
                </a:lnTo>
                <a:lnTo>
                  <a:pt x="583" y="33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60" name="Freeform 44">
            <a:extLst>
              <a:ext uri="{FF2B5EF4-FFF2-40B4-BE49-F238E27FC236}">
                <a16:creationId xmlns:a16="http://schemas.microsoft.com/office/drawing/2014/main" id="{4D4FEA21-AA6E-A345-8A13-2718B012BF29}"/>
              </a:ext>
            </a:extLst>
          </p:cNvPr>
          <p:cNvSpPr>
            <a:spLocks/>
          </p:cNvSpPr>
          <p:nvPr/>
        </p:nvSpPr>
        <p:spPr bwMode="auto">
          <a:xfrm>
            <a:off x="2670175" y="4468813"/>
            <a:ext cx="501650" cy="566737"/>
          </a:xfrm>
          <a:custGeom>
            <a:avLst/>
            <a:gdLst>
              <a:gd name="T0" fmla="*/ 0 w 622"/>
              <a:gd name="T1" fmla="*/ 713 h 713"/>
              <a:gd name="T2" fmla="*/ 39 w 622"/>
              <a:gd name="T3" fmla="*/ 678 h 713"/>
              <a:gd name="T4" fmla="*/ 78 w 622"/>
              <a:gd name="T5" fmla="*/ 641 h 713"/>
              <a:gd name="T6" fmla="*/ 117 w 622"/>
              <a:gd name="T7" fmla="*/ 600 h 713"/>
              <a:gd name="T8" fmla="*/ 156 w 622"/>
              <a:gd name="T9" fmla="*/ 559 h 713"/>
              <a:gd name="T10" fmla="*/ 195 w 622"/>
              <a:gd name="T11" fmla="*/ 515 h 713"/>
              <a:gd name="T12" fmla="*/ 233 w 622"/>
              <a:gd name="T13" fmla="*/ 468 h 713"/>
              <a:gd name="T14" fmla="*/ 311 w 622"/>
              <a:gd name="T15" fmla="*/ 375 h 713"/>
              <a:gd name="T16" fmla="*/ 389 w 622"/>
              <a:gd name="T17" fmla="*/ 278 h 713"/>
              <a:gd name="T18" fmla="*/ 466 w 622"/>
              <a:gd name="T19" fmla="*/ 180 h 713"/>
              <a:gd name="T20" fmla="*/ 544 w 622"/>
              <a:gd name="T21" fmla="*/ 87 h 713"/>
              <a:gd name="T22" fmla="*/ 583 w 622"/>
              <a:gd name="T23" fmla="*/ 43 h 713"/>
              <a:gd name="T24" fmla="*/ 622 w 622"/>
              <a:gd name="T25" fmla="*/ 0 h 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22" h="713">
                <a:moveTo>
                  <a:pt x="0" y="713"/>
                </a:moveTo>
                <a:lnTo>
                  <a:pt x="39" y="678"/>
                </a:lnTo>
                <a:lnTo>
                  <a:pt x="78" y="641"/>
                </a:lnTo>
                <a:lnTo>
                  <a:pt x="117" y="600"/>
                </a:lnTo>
                <a:lnTo>
                  <a:pt x="156" y="559"/>
                </a:lnTo>
                <a:lnTo>
                  <a:pt x="195" y="515"/>
                </a:lnTo>
                <a:lnTo>
                  <a:pt x="233" y="468"/>
                </a:lnTo>
                <a:lnTo>
                  <a:pt x="311" y="375"/>
                </a:lnTo>
                <a:lnTo>
                  <a:pt x="389" y="278"/>
                </a:lnTo>
                <a:lnTo>
                  <a:pt x="466" y="180"/>
                </a:lnTo>
                <a:lnTo>
                  <a:pt x="544" y="87"/>
                </a:lnTo>
                <a:lnTo>
                  <a:pt x="583" y="43"/>
                </a:lnTo>
                <a:lnTo>
                  <a:pt x="622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61" name="Freeform 45">
            <a:extLst>
              <a:ext uri="{FF2B5EF4-FFF2-40B4-BE49-F238E27FC236}">
                <a16:creationId xmlns:a16="http://schemas.microsoft.com/office/drawing/2014/main" id="{8242A3F5-1318-7540-B85E-6ECD22CF6CD0}"/>
              </a:ext>
            </a:extLst>
          </p:cNvPr>
          <p:cNvSpPr>
            <a:spLocks/>
          </p:cNvSpPr>
          <p:nvPr/>
        </p:nvSpPr>
        <p:spPr bwMode="auto">
          <a:xfrm>
            <a:off x="3171825" y="3962400"/>
            <a:ext cx="501650" cy="506413"/>
          </a:xfrm>
          <a:custGeom>
            <a:avLst/>
            <a:gdLst>
              <a:gd name="T0" fmla="*/ 0 w 621"/>
              <a:gd name="T1" fmla="*/ 639 h 639"/>
              <a:gd name="T2" fmla="*/ 39 w 621"/>
              <a:gd name="T3" fmla="*/ 596 h 639"/>
              <a:gd name="T4" fmla="*/ 77 w 621"/>
              <a:gd name="T5" fmla="*/ 551 h 639"/>
              <a:gd name="T6" fmla="*/ 155 w 621"/>
              <a:gd name="T7" fmla="*/ 460 h 639"/>
              <a:gd name="T8" fmla="*/ 233 w 621"/>
              <a:gd name="T9" fmla="*/ 369 h 639"/>
              <a:gd name="T10" fmla="*/ 310 w 621"/>
              <a:gd name="T11" fmla="*/ 280 h 639"/>
              <a:gd name="T12" fmla="*/ 349 w 621"/>
              <a:gd name="T13" fmla="*/ 235 h 639"/>
              <a:gd name="T14" fmla="*/ 388 w 621"/>
              <a:gd name="T15" fmla="*/ 194 h 639"/>
              <a:gd name="T16" fmla="*/ 427 w 621"/>
              <a:gd name="T17" fmla="*/ 155 h 639"/>
              <a:gd name="T18" fmla="*/ 466 w 621"/>
              <a:gd name="T19" fmla="*/ 118 h 639"/>
              <a:gd name="T20" fmla="*/ 505 w 621"/>
              <a:gd name="T21" fmla="*/ 83 h 639"/>
              <a:gd name="T22" fmla="*/ 543 w 621"/>
              <a:gd name="T23" fmla="*/ 52 h 639"/>
              <a:gd name="T24" fmla="*/ 582 w 621"/>
              <a:gd name="T25" fmla="*/ 23 h 639"/>
              <a:gd name="T26" fmla="*/ 621 w 621"/>
              <a:gd name="T27" fmla="*/ 0 h 6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21" h="639">
                <a:moveTo>
                  <a:pt x="0" y="639"/>
                </a:moveTo>
                <a:lnTo>
                  <a:pt x="39" y="596"/>
                </a:lnTo>
                <a:lnTo>
                  <a:pt x="77" y="551"/>
                </a:lnTo>
                <a:lnTo>
                  <a:pt x="155" y="460"/>
                </a:lnTo>
                <a:lnTo>
                  <a:pt x="233" y="369"/>
                </a:lnTo>
                <a:lnTo>
                  <a:pt x="310" y="280"/>
                </a:lnTo>
                <a:lnTo>
                  <a:pt x="349" y="235"/>
                </a:lnTo>
                <a:lnTo>
                  <a:pt x="388" y="194"/>
                </a:lnTo>
                <a:lnTo>
                  <a:pt x="427" y="155"/>
                </a:lnTo>
                <a:lnTo>
                  <a:pt x="466" y="118"/>
                </a:lnTo>
                <a:lnTo>
                  <a:pt x="505" y="83"/>
                </a:lnTo>
                <a:lnTo>
                  <a:pt x="543" y="52"/>
                </a:lnTo>
                <a:lnTo>
                  <a:pt x="582" y="23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62" name="Freeform 46">
            <a:extLst>
              <a:ext uri="{FF2B5EF4-FFF2-40B4-BE49-F238E27FC236}">
                <a16:creationId xmlns:a16="http://schemas.microsoft.com/office/drawing/2014/main" id="{F94FAB6C-5C4B-9D48-8761-D3AA8FE7446F}"/>
              </a:ext>
            </a:extLst>
          </p:cNvPr>
          <p:cNvSpPr>
            <a:spLocks/>
          </p:cNvSpPr>
          <p:nvPr/>
        </p:nvSpPr>
        <p:spPr bwMode="auto">
          <a:xfrm>
            <a:off x="3673475" y="3887788"/>
            <a:ext cx="503238" cy="74612"/>
          </a:xfrm>
          <a:custGeom>
            <a:avLst/>
            <a:gdLst>
              <a:gd name="T0" fmla="*/ 0 w 621"/>
              <a:gd name="T1" fmla="*/ 93 h 93"/>
              <a:gd name="T2" fmla="*/ 39 w 621"/>
              <a:gd name="T3" fmla="*/ 71 h 93"/>
              <a:gd name="T4" fmla="*/ 78 w 621"/>
              <a:gd name="T5" fmla="*/ 54 h 93"/>
              <a:gd name="T6" fmla="*/ 117 w 621"/>
              <a:gd name="T7" fmla="*/ 40 h 93"/>
              <a:gd name="T8" fmla="*/ 155 w 621"/>
              <a:gd name="T9" fmla="*/ 29 h 93"/>
              <a:gd name="T10" fmla="*/ 194 w 621"/>
              <a:gd name="T11" fmla="*/ 19 h 93"/>
              <a:gd name="T12" fmla="*/ 233 w 621"/>
              <a:gd name="T13" fmla="*/ 11 h 93"/>
              <a:gd name="T14" fmla="*/ 272 w 621"/>
              <a:gd name="T15" fmla="*/ 5 h 93"/>
              <a:gd name="T16" fmla="*/ 311 w 621"/>
              <a:gd name="T17" fmla="*/ 2 h 93"/>
              <a:gd name="T18" fmla="*/ 350 w 621"/>
              <a:gd name="T19" fmla="*/ 0 h 93"/>
              <a:gd name="T20" fmla="*/ 388 w 621"/>
              <a:gd name="T21" fmla="*/ 2 h 93"/>
              <a:gd name="T22" fmla="*/ 427 w 621"/>
              <a:gd name="T23" fmla="*/ 2 h 93"/>
              <a:gd name="T24" fmla="*/ 466 w 621"/>
              <a:gd name="T25" fmla="*/ 5 h 93"/>
              <a:gd name="T26" fmla="*/ 544 w 621"/>
              <a:gd name="T27" fmla="*/ 15 h 93"/>
              <a:gd name="T28" fmla="*/ 621 w 621"/>
              <a:gd name="T29" fmla="*/ 27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21" h="93">
                <a:moveTo>
                  <a:pt x="0" y="93"/>
                </a:moveTo>
                <a:lnTo>
                  <a:pt x="39" y="71"/>
                </a:lnTo>
                <a:lnTo>
                  <a:pt x="78" y="54"/>
                </a:lnTo>
                <a:lnTo>
                  <a:pt x="117" y="40"/>
                </a:lnTo>
                <a:lnTo>
                  <a:pt x="155" y="29"/>
                </a:lnTo>
                <a:lnTo>
                  <a:pt x="194" y="19"/>
                </a:lnTo>
                <a:lnTo>
                  <a:pt x="233" y="11"/>
                </a:lnTo>
                <a:lnTo>
                  <a:pt x="272" y="5"/>
                </a:lnTo>
                <a:lnTo>
                  <a:pt x="311" y="2"/>
                </a:lnTo>
                <a:lnTo>
                  <a:pt x="350" y="0"/>
                </a:lnTo>
                <a:lnTo>
                  <a:pt x="388" y="2"/>
                </a:lnTo>
                <a:lnTo>
                  <a:pt x="427" y="2"/>
                </a:lnTo>
                <a:lnTo>
                  <a:pt x="466" y="5"/>
                </a:lnTo>
                <a:lnTo>
                  <a:pt x="544" y="15"/>
                </a:lnTo>
                <a:lnTo>
                  <a:pt x="621" y="27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63" name="Freeform 47">
            <a:extLst>
              <a:ext uri="{FF2B5EF4-FFF2-40B4-BE49-F238E27FC236}">
                <a16:creationId xmlns:a16="http://schemas.microsoft.com/office/drawing/2014/main" id="{E2738D6E-76B0-B84A-95E3-6461851B3D60}"/>
              </a:ext>
            </a:extLst>
          </p:cNvPr>
          <p:cNvSpPr>
            <a:spLocks/>
          </p:cNvSpPr>
          <p:nvPr/>
        </p:nvSpPr>
        <p:spPr bwMode="auto">
          <a:xfrm>
            <a:off x="4176713" y="3910013"/>
            <a:ext cx="500062" cy="227012"/>
          </a:xfrm>
          <a:custGeom>
            <a:avLst/>
            <a:gdLst>
              <a:gd name="T0" fmla="*/ 0 w 622"/>
              <a:gd name="T1" fmla="*/ 0 h 285"/>
              <a:gd name="T2" fmla="*/ 78 w 622"/>
              <a:gd name="T3" fmla="*/ 15 h 285"/>
              <a:gd name="T4" fmla="*/ 156 w 622"/>
              <a:gd name="T5" fmla="*/ 35 h 285"/>
              <a:gd name="T6" fmla="*/ 233 w 622"/>
              <a:gd name="T7" fmla="*/ 60 h 285"/>
              <a:gd name="T8" fmla="*/ 272 w 622"/>
              <a:gd name="T9" fmla="*/ 76 h 285"/>
              <a:gd name="T10" fmla="*/ 311 w 622"/>
              <a:gd name="T11" fmla="*/ 91 h 285"/>
              <a:gd name="T12" fmla="*/ 350 w 622"/>
              <a:gd name="T13" fmla="*/ 109 h 285"/>
              <a:gd name="T14" fmla="*/ 389 w 622"/>
              <a:gd name="T15" fmla="*/ 128 h 285"/>
              <a:gd name="T16" fmla="*/ 427 w 622"/>
              <a:gd name="T17" fmla="*/ 149 h 285"/>
              <a:gd name="T18" fmla="*/ 466 w 622"/>
              <a:gd name="T19" fmla="*/ 173 h 285"/>
              <a:gd name="T20" fmla="*/ 505 w 622"/>
              <a:gd name="T21" fmla="*/ 198 h 285"/>
              <a:gd name="T22" fmla="*/ 544 w 622"/>
              <a:gd name="T23" fmla="*/ 225 h 285"/>
              <a:gd name="T24" fmla="*/ 583 w 622"/>
              <a:gd name="T25" fmla="*/ 254 h 285"/>
              <a:gd name="T26" fmla="*/ 622 w 622"/>
              <a:gd name="T27" fmla="*/ 285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22" h="285">
                <a:moveTo>
                  <a:pt x="0" y="0"/>
                </a:moveTo>
                <a:lnTo>
                  <a:pt x="78" y="15"/>
                </a:lnTo>
                <a:lnTo>
                  <a:pt x="156" y="35"/>
                </a:lnTo>
                <a:lnTo>
                  <a:pt x="233" y="60"/>
                </a:lnTo>
                <a:lnTo>
                  <a:pt x="272" y="76"/>
                </a:lnTo>
                <a:lnTo>
                  <a:pt x="311" y="91"/>
                </a:lnTo>
                <a:lnTo>
                  <a:pt x="350" y="109"/>
                </a:lnTo>
                <a:lnTo>
                  <a:pt x="389" y="128"/>
                </a:lnTo>
                <a:lnTo>
                  <a:pt x="427" y="149"/>
                </a:lnTo>
                <a:lnTo>
                  <a:pt x="466" y="173"/>
                </a:lnTo>
                <a:lnTo>
                  <a:pt x="505" y="198"/>
                </a:lnTo>
                <a:lnTo>
                  <a:pt x="544" y="225"/>
                </a:lnTo>
                <a:lnTo>
                  <a:pt x="583" y="254"/>
                </a:lnTo>
                <a:lnTo>
                  <a:pt x="622" y="285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64" name="Freeform 48">
            <a:extLst>
              <a:ext uri="{FF2B5EF4-FFF2-40B4-BE49-F238E27FC236}">
                <a16:creationId xmlns:a16="http://schemas.microsoft.com/office/drawing/2014/main" id="{81331807-9E26-2C43-B102-CBB7C079A8A0}"/>
              </a:ext>
            </a:extLst>
          </p:cNvPr>
          <p:cNvSpPr>
            <a:spLocks/>
          </p:cNvSpPr>
          <p:nvPr/>
        </p:nvSpPr>
        <p:spPr bwMode="auto">
          <a:xfrm>
            <a:off x="4676775" y="4137025"/>
            <a:ext cx="501650" cy="595313"/>
          </a:xfrm>
          <a:custGeom>
            <a:avLst/>
            <a:gdLst>
              <a:gd name="T0" fmla="*/ 0 w 619"/>
              <a:gd name="T1" fmla="*/ 0 h 750"/>
              <a:gd name="T2" fmla="*/ 38 w 619"/>
              <a:gd name="T3" fmla="*/ 35 h 750"/>
              <a:gd name="T4" fmla="*/ 77 w 619"/>
              <a:gd name="T5" fmla="*/ 74 h 750"/>
              <a:gd name="T6" fmla="*/ 116 w 619"/>
              <a:gd name="T7" fmla="*/ 115 h 750"/>
              <a:gd name="T8" fmla="*/ 155 w 619"/>
              <a:gd name="T9" fmla="*/ 160 h 750"/>
              <a:gd name="T10" fmla="*/ 194 w 619"/>
              <a:gd name="T11" fmla="*/ 208 h 750"/>
              <a:gd name="T12" fmla="*/ 233 w 619"/>
              <a:gd name="T13" fmla="*/ 257 h 750"/>
              <a:gd name="T14" fmla="*/ 271 w 619"/>
              <a:gd name="T15" fmla="*/ 307 h 750"/>
              <a:gd name="T16" fmla="*/ 308 w 619"/>
              <a:gd name="T17" fmla="*/ 360 h 750"/>
              <a:gd name="T18" fmla="*/ 386 w 619"/>
              <a:gd name="T19" fmla="*/ 465 h 750"/>
              <a:gd name="T20" fmla="*/ 425 w 619"/>
              <a:gd name="T21" fmla="*/ 517 h 750"/>
              <a:gd name="T22" fmla="*/ 464 w 619"/>
              <a:gd name="T23" fmla="*/ 567 h 750"/>
              <a:gd name="T24" fmla="*/ 503 w 619"/>
              <a:gd name="T25" fmla="*/ 616 h 750"/>
              <a:gd name="T26" fmla="*/ 541 w 619"/>
              <a:gd name="T27" fmla="*/ 665 h 750"/>
              <a:gd name="T28" fmla="*/ 580 w 619"/>
              <a:gd name="T29" fmla="*/ 709 h 750"/>
              <a:gd name="T30" fmla="*/ 619 w 619"/>
              <a:gd name="T31" fmla="*/ 750 h 7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619" h="750">
                <a:moveTo>
                  <a:pt x="0" y="0"/>
                </a:moveTo>
                <a:lnTo>
                  <a:pt x="38" y="35"/>
                </a:lnTo>
                <a:lnTo>
                  <a:pt x="77" y="74"/>
                </a:lnTo>
                <a:lnTo>
                  <a:pt x="116" y="115"/>
                </a:lnTo>
                <a:lnTo>
                  <a:pt x="155" y="160"/>
                </a:lnTo>
                <a:lnTo>
                  <a:pt x="194" y="208"/>
                </a:lnTo>
                <a:lnTo>
                  <a:pt x="233" y="257"/>
                </a:lnTo>
                <a:lnTo>
                  <a:pt x="271" y="307"/>
                </a:lnTo>
                <a:lnTo>
                  <a:pt x="308" y="360"/>
                </a:lnTo>
                <a:lnTo>
                  <a:pt x="386" y="465"/>
                </a:lnTo>
                <a:lnTo>
                  <a:pt x="425" y="517"/>
                </a:lnTo>
                <a:lnTo>
                  <a:pt x="464" y="567"/>
                </a:lnTo>
                <a:lnTo>
                  <a:pt x="503" y="616"/>
                </a:lnTo>
                <a:lnTo>
                  <a:pt x="541" y="665"/>
                </a:lnTo>
                <a:lnTo>
                  <a:pt x="580" y="709"/>
                </a:lnTo>
                <a:lnTo>
                  <a:pt x="619" y="75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65" name="Freeform 49">
            <a:extLst>
              <a:ext uri="{FF2B5EF4-FFF2-40B4-BE49-F238E27FC236}">
                <a16:creationId xmlns:a16="http://schemas.microsoft.com/office/drawing/2014/main" id="{DEF381E1-1578-164B-BE3A-9D142FFAF7AF}"/>
              </a:ext>
            </a:extLst>
          </p:cNvPr>
          <p:cNvSpPr>
            <a:spLocks/>
          </p:cNvSpPr>
          <p:nvPr/>
        </p:nvSpPr>
        <p:spPr bwMode="auto">
          <a:xfrm>
            <a:off x="5178425" y="4732338"/>
            <a:ext cx="504825" cy="419100"/>
          </a:xfrm>
          <a:custGeom>
            <a:avLst/>
            <a:gdLst>
              <a:gd name="T0" fmla="*/ 0 w 621"/>
              <a:gd name="T1" fmla="*/ 0 h 528"/>
              <a:gd name="T2" fmla="*/ 78 w 621"/>
              <a:gd name="T3" fmla="*/ 80 h 528"/>
              <a:gd name="T4" fmla="*/ 155 w 621"/>
              <a:gd name="T5" fmla="*/ 155 h 528"/>
              <a:gd name="T6" fmla="*/ 233 w 621"/>
              <a:gd name="T7" fmla="*/ 229 h 528"/>
              <a:gd name="T8" fmla="*/ 311 w 621"/>
              <a:gd name="T9" fmla="*/ 297 h 528"/>
              <a:gd name="T10" fmla="*/ 388 w 621"/>
              <a:gd name="T11" fmla="*/ 363 h 528"/>
              <a:gd name="T12" fmla="*/ 466 w 621"/>
              <a:gd name="T13" fmla="*/ 423 h 528"/>
              <a:gd name="T14" fmla="*/ 505 w 621"/>
              <a:gd name="T15" fmla="*/ 453 h 528"/>
              <a:gd name="T16" fmla="*/ 544 w 621"/>
              <a:gd name="T17" fmla="*/ 480 h 528"/>
              <a:gd name="T18" fmla="*/ 583 w 621"/>
              <a:gd name="T19" fmla="*/ 505 h 528"/>
              <a:gd name="T20" fmla="*/ 621 w 621"/>
              <a:gd name="T21" fmla="*/ 528 h 5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21" h="528">
                <a:moveTo>
                  <a:pt x="0" y="0"/>
                </a:moveTo>
                <a:lnTo>
                  <a:pt x="78" y="80"/>
                </a:lnTo>
                <a:lnTo>
                  <a:pt x="155" y="155"/>
                </a:lnTo>
                <a:lnTo>
                  <a:pt x="233" y="229"/>
                </a:lnTo>
                <a:lnTo>
                  <a:pt x="311" y="297"/>
                </a:lnTo>
                <a:lnTo>
                  <a:pt x="388" y="363"/>
                </a:lnTo>
                <a:lnTo>
                  <a:pt x="466" y="423"/>
                </a:lnTo>
                <a:lnTo>
                  <a:pt x="505" y="453"/>
                </a:lnTo>
                <a:lnTo>
                  <a:pt x="544" y="480"/>
                </a:lnTo>
                <a:lnTo>
                  <a:pt x="583" y="505"/>
                </a:lnTo>
                <a:lnTo>
                  <a:pt x="621" y="528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66" name="Freeform 50">
            <a:extLst>
              <a:ext uri="{FF2B5EF4-FFF2-40B4-BE49-F238E27FC236}">
                <a16:creationId xmlns:a16="http://schemas.microsoft.com/office/drawing/2014/main" id="{CAD60F2B-0AC8-DE44-9038-27F8BB5A6519}"/>
              </a:ext>
            </a:extLst>
          </p:cNvPr>
          <p:cNvSpPr>
            <a:spLocks/>
          </p:cNvSpPr>
          <p:nvPr/>
        </p:nvSpPr>
        <p:spPr bwMode="auto">
          <a:xfrm>
            <a:off x="5683250" y="5151438"/>
            <a:ext cx="500063" cy="165100"/>
          </a:xfrm>
          <a:custGeom>
            <a:avLst/>
            <a:gdLst>
              <a:gd name="T0" fmla="*/ 0 w 622"/>
              <a:gd name="T1" fmla="*/ 0 h 208"/>
              <a:gd name="T2" fmla="*/ 39 w 622"/>
              <a:gd name="T3" fmla="*/ 22 h 208"/>
              <a:gd name="T4" fmla="*/ 78 w 622"/>
              <a:gd name="T5" fmla="*/ 43 h 208"/>
              <a:gd name="T6" fmla="*/ 117 w 622"/>
              <a:gd name="T7" fmla="*/ 61 h 208"/>
              <a:gd name="T8" fmla="*/ 156 w 622"/>
              <a:gd name="T9" fmla="*/ 76 h 208"/>
              <a:gd name="T10" fmla="*/ 195 w 622"/>
              <a:gd name="T11" fmla="*/ 92 h 208"/>
              <a:gd name="T12" fmla="*/ 233 w 622"/>
              <a:gd name="T13" fmla="*/ 105 h 208"/>
              <a:gd name="T14" fmla="*/ 311 w 622"/>
              <a:gd name="T15" fmla="*/ 130 h 208"/>
              <a:gd name="T16" fmla="*/ 389 w 622"/>
              <a:gd name="T17" fmla="*/ 152 h 208"/>
              <a:gd name="T18" fmla="*/ 466 w 622"/>
              <a:gd name="T19" fmla="*/ 171 h 208"/>
              <a:gd name="T20" fmla="*/ 544 w 622"/>
              <a:gd name="T21" fmla="*/ 189 h 208"/>
              <a:gd name="T22" fmla="*/ 622 w 622"/>
              <a:gd name="T23" fmla="*/ 208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22" h="208">
                <a:moveTo>
                  <a:pt x="0" y="0"/>
                </a:moveTo>
                <a:lnTo>
                  <a:pt x="39" y="22"/>
                </a:lnTo>
                <a:lnTo>
                  <a:pt x="78" y="43"/>
                </a:lnTo>
                <a:lnTo>
                  <a:pt x="117" y="61"/>
                </a:lnTo>
                <a:lnTo>
                  <a:pt x="156" y="76"/>
                </a:lnTo>
                <a:lnTo>
                  <a:pt x="195" y="92"/>
                </a:lnTo>
                <a:lnTo>
                  <a:pt x="233" y="105"/>
                </a:lnTo>
                <a:lnTo>
                  <a:pt x="311" y="130"/>
                </a:lnTo>
                <a:lnTo>
                  <a:pt x="389" y="152"/>
                </a:lnTo>
                <a:lnTo>
                  <a:pt x="466" y="171"/>
                </a:lnTo>
                <a:lnTo>
                  <a:pt x="544" y="189"/>
                </a:lnTo>
                <a:lnTo>
                  <a:pt x="622" y="208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67" name="Freeform 51">
            <a:extLst>
              <a:ext uri="{FF2B5EF4-FFF2-40B4-BE49-F238E27FC236}">
                <a16:creationId xmlns:a16="http://schemas.microsoft.com/office/drawing/2014/main" id="{4257EC23-775D-4848-BEDD-406C63717F39}"/>
              </a:ext>
            </a:extLst>
          </p:cNvPr>
          <p:cNvSpPr>
            <a:spLocks/>
          </p:cNvSpPr>
          <p:nvPr/>
        </p:nvSpPr>
        <p:spPr bwMode="auto">
          <a:xfrm>
            <a:off x="6183313" y="5316538"/>
            <a:ext cx="503237" cy="90487"/>
          </a:xfrm>
          <a:custGeom>
            <a:avLst/>
            <a:gdLst>
              <a:gd name="T0" fmla="*/ 0 w 621"/>
              <a:gd name="T1" fmla="*/ 0 h 115"/>
              <a:gd name="T2" fmla="*/ 155 w 621"/>
              <a:gd name="T3" fmla="*/ 37 h 115"/>
              <a:gd name="T4" fmla="*/ 233 w 621"/>
              <a:gd name="T5" fmla="*/ 55 h 115"/>
              <a:gd name="T6" fmla="*/ 310 w 621"/>
              <a:gd name="T7" fmla="*/ 70 h 115"/>
              <a:gd name="T8" fmla="*/ 388 w 621"/>
              <a:gd name="T9" fmla="*/ 84 h 115"/>
              <a:gd name="T10" fmla="*/ 466 w 621"/>
              <a:gd name="T11" fmla="*/ 95 h 115"/>
              <a:gd name="T12" fmla="*/ 543 w 621"/>
              <a:gd name="T13" fmla="*/ 107 h 115"/>
              <a:gd name="T14" fmla="*/ 621 w 621"/>
              <a:gd name="T15" fmla="*/ 115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21" h="115">
                <a:moveTo>
                  <a:pt x="0" y="0"/>
                </a:moveTo>
                <a:lnTo>
                  <a:pt x="155" y="37"/>
                </a:lnTo>
                <a:lnTo>
                  <a:pt x="233" y="55"/>
                </a:lnTo>
                <a:lnTo>
                  <a:pt x="310" y="70"/>
                </a:lnTo>
                <a:lnTo>
                  <a:pt x="388" y="84"/>
                </a:lnTo>
                <a:lnTo>
                  <a:pt x="466" y="95"/>
                </a:lnTo>
                <a:lnTo>
                  <a:pt x="543" y="107"/>
                </a:lnTo>
                <a:lnTo>
                  <a:pt x="621" y="115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68" name="Freeform 52">
            <a:extLst>
              <a:ext uri="{FF2B5EF4-FFF2-40B4-BE49-F238E27FC236}">
                <a16:creationId xmlns:a16="http://schemas.microsoft.com/office/drawing/2014/main" id="{A0F6EA07-481F-F74A-B66D-9191233BCFB1}"/>
              </a:ext>
            </a:extLst>
          </p:cNvPr>
          <p:cNvSpPr>
            <a:spLocks/>
          </p:cNvSpPr>
          <p:nvPr/>
        </p:nvSpPr>
        <p:spPr bwMode="auto">
          <a:xfrm>
            <a:off x="6686550" y="5407025"/>
            <a:ext cx="503238" cy="7938"/>
          </a:xfrm>
          <a:custGeom>
            <a:avLst/>
            <a:gdLst>
              <a:gd name="T0" fmla="*/ 0 w 621"/>
              <a:gd name="T1" fmla="*/ 0 h 9"/>
              <a:gd name="T2" fmla="*/ 78 w 621"/>
              <a:gd name="T3" fmla="*/ 6 h 9"/>
              <a:gd name="T4" fmla="*/ 155 w 621"/>
              <a:gd name="T5" fmla="*/ 8 h 9"/>
              <a:gd name="T6" fmla="*/ 233 w 621"/>
              <a:gd name="T7" fmla="*/ 9 h 9"/>
              <a:gd name="T8" fmla="*/ 311 w 621"/>
              <a:gd name="T9" fmla="*/ 8 h 9"/>
              <a:gd name="T10" fmla="*/ 466 w 621"/>
              <a:gd name="T11" fmla="*/ 4 h 9"/>
              <a:gd name="T12" fmla="*/ 544 w 621"/>
              <a:gd name="T13" fmla="*/ 4 h 9"/>
              <a:gd name="T14" fmla="*/ 621 w 621"/>
              <a:gd name="T15" fmla="*/ 4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21" h="9">
                <a:moveTo>
                  <a:pt x="0" y="0"/>
                </a:moveTo>
                <a:lnTo>
                  <a:pt x="78" y="6"/>
                </a:lnTo>
                <a:lnTo>
                  <a:pt x="155" y="8"/>
                </a:lnTo>
                <a:lnTo>
                  <a:pt x="233" y="9"/>
                </a:lnTo>
                <a:lnTo>
                  <a:pt x="311" y="8"/>
                </a:lnTo>
                <a:lnTo>
                  <a:pt x="466" y="4"/>
                </a:lnTo>
                <a:lnTo>
                  <a:pt x="544" y="4"/>
                </a:lnTo>
                <a:lnTo>
                  <a:pt x="621" y="4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69" name="Freeform 53">
            <a:extLst>
              <a:ext uri="{FF2B5EF4-FFF2-40B4-BE49-F238E27FC236}">
                <a16:creationId xmlns:a16="http://schemas.microsoft.com/office/drawing/2014/main" id="{91335A50-5516-F545-9928-51F77016FC01}"/>
              </a:ext>
            </a:extLst>
          </p:cNvPr>
          <p:cNvSpPr>
            <a:spLocks/>
          </p:cNvSpPr>
          <p:nvPr/>
        </p:nvSpPr>
        <p:spPr bwMode="auto">
          <a:xfrm>
            <a:off x="7189788" y="5410200"/>
            <a:ext cx="500062" cy="12700"/>
          </a:xfrm>
          <a:custGeom>
            <a:avLst/>
            <a:gdLst>
              <a:gd name="T0" fmla="*/ 0 w 622"/>
              <a:gd name="T1" fmla="*/ 0 h 15"/>
              <a:gd name="T2" fmla="*/ 156 w 622"/>
              <a:gd name="T3" fmla="*/ 4 h 15"/>
              <a:gd name="T4" fmla="*/ 311 w 622"/>
              <a:gd name="T5" fmla="*/ 7 h 15"/>
              <a:gd name="T6" fmla="*/ 622 w 622"/>
              <a:gd name="T7" fmla="*/ 1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2" h="15">
                <a:moveTo>
                  <a:pt x="0" y="0"/>
                </a:moveTo>
                <a:lnTo>
                  <a:pt x="156" y="4"/>
                </a:lnTo>
                <a:lnTo>
                  <a:pt x="311" y="7"/>
                </a:lnTo>
                <a:lnTo>
                  <a:pt x="622" y="15"/>
                </a:lnTo>
              </a:path>
            </a:pathLst>
          </a:custGeom>
          <a:noFill/>
          <a:ln w="95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70" name="Freeform 54">
            <a:extLst>
              <a:ext uri="{FF2B5EF4-FFF2-40B4-BE49-F238E27FC236}">
                <a16:creationId xmlns:a16="http://schemas.microsoft.com/office/drawing/2014/main" id="{5FCB5682-C430-5D43-9FB1-35057768E8A3}"/>
              </a:ext>
            </a:extLst>
          </p:cNvPr>
          <p:cNvSpPr>
            <a:spLocks/>
          </p:cNvSpPr>
          <p:nvPr/>
        </p:nvSpPr>
        <p:spPr bwMode="auto">
          <a:xfrm>
            <a:off x="1663700" y="5403850"/>
            <a:ext cx="501650" cy="19050"/>
          </a:xfrm>
          <a:custGeom>
            <a:avLst/>
            <a:gdLst>
              <a:gd name="T0" fmla="*/ 0 w 621"/>
              <a:gd name="T1" fmla="*/ 23 h 23"/>
              <a:gd name="T2" fmla="*/ 155 w 621"/>
              <a:gd name="T3" fmla="*/ 19 h 23"/>
              <a:gd name="T4" fmla="*/ 310 w 621"/>
              <a:gd name="T5" fmla="*/ 17 h 23"/>
              <a:gd name="T6" fmla="*/ 466 w 621"/>
              <a:gd name="T7" fmla="*/ 10 h 23"/>
              <a:gd name="T8" fmla="*/ 543 w 621"/>
              <a:gd name="T9" fmla="*/ 6 h 23"/>
              <a:gd name="T10" fmla="*/ 621 w 621"/>
              <a:gd name="T11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21" h="23">
                <a:moveTo>
                  <a:pt x="0" y="23"/>
                </a:moveTo>
                <a:lnTo>
                  <a:pt x="155" y="19"/>
                </a:lnTo>
                <a:lnTo>
                  <a:pt x="310" y="17"/>
                </a:lnTo>
                <a:lnTo>
                  <a:pt x="466" y="10"/>
                </a:lnTo>
                <a:lnTo>
                  <a:pt x="543" y="6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71" name="Freeform 55">
            <a:extLst>
              <a:ext uri="{FF2B5EF4-FFF2-40B4-BE49-F238E27FC236}">
                <a16:creationId xmlns:a16="http://schemas.microsoft.com/office/drawing/2014/main" id="{2766ECDA-48ED-2A42-8F69-CC9FC333A812}"/>
              </a:ext>
            </a:extLst>
          </p:cNvPr>
          <p:cNvSpPr>
            <a:spLocks/>
          </p:cNvSpPr>
          <p:nvPr/>
        </p:nvSpPr>
        <p:spPr bwMode="auto">
          <a:xfrm>
            <a:off x="2165350" y="5338763"/>
            <a:ext cx="504825" cy="65087"/>
          </a:xfrm>
          <a:custGeom>
            <a:avLst/>
            <a:gdLst>
              <a:gd name="T0" fmla="*/ 0 w 621"/>
              <a:gd name="T1" fmla="*/ 82 h 82"/>
              <a:gd name="T2" fmla="*/ 155 w 621"/>
              <a:gd name="T3" fmla="*/ 70 h 82"/>
              <a:gd name="T4" fmla="*/ 233 w 621"/>
              <a:gd name="T5" fmla="*/ 64 h 82"/>
              <a:gd name="T6" fmla="*/ 311 w 621"/>
              <a:gd name="T7" fmla="*/ 57 h 82"/>
              <a:gd name="T8" fmla="*/ 388 w 621"/>
              <a:gd name="T9" fmla="*/ 49 h 82"/>
              <a:gd name="T10" fmla="*/ 466 w 621"/>
              <a:gd name="T11" fmla="*/ 35 h 82"/>
              <a:gd name="T12" fmla="*/ 544 w 621"/>
              <a:gd name="T13" fmla="*/ 20 h 82"/>
              <a:gd name="T14" fmla="*/ 621 w 621"/>
              <a:gd name="T15" fmla="*/ 0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21" h="82">
                <a:moveTo>
                  <a:pt x="0" y="82"/>
                </a:moveTo>
                <a:lnTo>
                  <a:pt x="155" y="70"/>
                </a:lnTo>
                <a:lnTo>
                  <a:pt x="233" y="64"/>
                </a:lnTo>
                <a:lnTo>
                  <a:pt x="311" y="57"/>
                </a:lnTo>
                <a:lnTo>
                  <a:pt x="388" y="49"/>
                </a:lnTo>
                <a:lnTo>
                  <a:pt x="466" y="35"/>
                </a:lnTo>
                <a:lnTo>
                  <a:pt x="544" y="20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72" name="Freeform 56">
            <a:extLst>
              <a:ext uri="{FF2B5EF4-FFF2-40B4-BE49-F238E27FC236}">
                <a16:creationId xmlns:a16="http://schemas.microsoft.com/office/drawing/2014/main" id="{87B2F4AA-DE81-634B-B71D-A522B38614BF}"/>
              </a:ext>
            </a:extLst>
          </p:cNvPr>
          <p:cNvSpPr>
            <a:spLocks/>
          </p:cNvSpPr>
          <p:nvPr/>
        </p:nvSpPr>
        <p:spPr bwMode="auto">
          <a:xfrm>
            <a:off x="2670175" y="5114925"/>
            <a:ext cx="501650" cy="223838"/>
          </a:xfrm>
          <a:custGeom>
            <a:avLst/>
            <a:gdLst>
              <a:gd name="T0" fmla="*/ 0 w 622"/>
              <a:gd name="T1" fmla="*/ 281 h 281"/>
              <a:gd name="T2" fmla="*/ 78 w 622"/>
              <a:gd name="T3" fmla="*/ 258 h 281"/>
              <a:gd name="T4" fmla="*/ 156 w 622"/>
              <a:gd name="T5" fmla="*/ 235 h 281"/>
              <a:gd name="T6" fmla="*/ 233 w 622"/>
              <a:gd name="T7" fmla="*/ 208 h 281"/>
              <a:gd name="T8" fmla="*/ 311 w 622"/>
              <a:gd name="T9" fmla="*/ 178 h 281"/>
              <a:gd name="T10" fmla="*/ 350 w 622"/>
              <a:gd name="T11" fmla="*/ 163 h 281"/>
              <a:gd name="T12" fmla="*/ 389 w 622"/>
              <a:gd name="T13" fmla="*/ 143 h 281"/>
              <a:gd name="T14" fmla="*/ 428 w 622"/>
              <a:gd name="T15" fmla="*/ 124 h 281"/>
              <a:gd name="T16" fmla="*/ 466 w 622"/>
              <a:gd name="T17" fmla="*/ 105 h 281"/>
              <a:gd name="T18" fmla="*/ 505 w 622"/>
              <a:gd name="T19" fmla="*/ 81 h 281"/>
              <a:gd name="T20" fmla="*/ 544 w 622"/>
              <a:gd name="T21" fmla="*/ 56 h 281"/>
              <a:gd name="T22" fmla="*/ 583 w 622"/>
              <a:gd name="T23" fmla="*/ 29 h 281"/>
              <a:gd name="T24" fmla="*/ 622 w 622"/>
              <a:gd name="T25" fmla="*/ 0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22" h="281">
                <a:moveTo>
                  <a:pt x="0" y="281"/>
                </a:moveTo>
                <a:lnTo>
                  <a:pt x="78" y="258"/>
                </a:lnTo>
                <a:lnTo>
                  <a:pt x="156" y="235"/>
                </a:lnTo>
                <a:lnTo>
                  <a:pt x="233" y="208"/>
                </a:lnTo>
                <a:lnTo>
                  <a:pt x="311" y="178"/>
                </a:lnTo>
                <a:lnTo>
                  <a:pt x="350" y="163"/>
                </a:lnTo>
                <a:lnTo>
                  <a:pt x="389" y="143"/>
                </a:lnTo>
                <a:lnTo>
                  <a:pt x="428" y="124"/>
                </a:lnTo>
                <a:lnTo>
                  <a:pt x="466" y="105"/>
                </a:lnTo>
                <a:lnTo>
                  <a:pt x="505" y="81"/>
                </a:lnTo>
                <a:lnTo>
                  <a:pt x="544" y="56"/>
                </a:lnTo>
                <a:lnTo>
                  <a:pt x="583" y="29"/>
                </a:lnTo>
                <a:lnTo>
                  <a:pt x="622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73" name="Freeform 57">
            <a:extLst>
              <a:ext uri="{FF2B5EF4-FFF2-40B4-BE49-F238E27FC236}">
                <a16:creationId xmlns:a16="http://schemas.microsoft.com/office/drawing/2014/main" id="{B9DB4200-F00E-E04C-B5D6-F3DD9E5B73DF}"/>
              </a:ext>
            </a:extLst>
          </p:cNvPr>
          <p:cNvSpPr>
            <a:spLocks/>
          </p:cNvSpPr>
          <p:nvPr/>
        </p:nvSpPr>
        <p:spPr bwMode="auto">
          <a:xfrm>
            <a:off x="3171825" y="4567238"/>
            <a:ext cx="501650" cy="547687"/>
          </a:xfrm>
          <a:custGeom>
            <a:avLst/>
            <a:gdLst>
              <a:gd name="T0" fmla="*/ 0 w 621"/>
              <a:gd name="T1" fmla="*/ 692 h 692"/>
              <a:gd name="T2" fmla="*/ 39 w 621"/>
              <a:gd name="T3" fmla="*/ 661 h 692"/>
              <a:gd name="T4" fmla="*/ 77 w 621"/>
              <a:gd name="T5" fmla="*/ 626 h 692"/>
              <a:gd name="T6" fmla="*/ 116 w 621"/>
              <a:gd name="T7" fmla="*/ 587 h 692"/>
              <a:gd name="T8" fmla="*/ 155 w 621"/>
              <a:gd name="T9" fmla="*/ 548 h 692"/>
              <a:gd name="T10" fmla="*/ 194 w 621"/>
              <a:gd name="T11" fmla="*/ 505 h 692"/>
              <a:gd name="T12" fmla="*/ 233 w 621"/>
              <a:gd name="T13" fmla="*/ 462 h 692"/>
              <a:gd name="T14" fmla="*/ 310 w 621"/>
              <a:gd name="T15" fmla="*/ 371 h 692"/>
              <a:gd name="T16" fmla="*/ 388 w 621"/>
              <a:gd name="T17" fmla="*/ 278 h 692"/>
              <a:gd name="T18" fmla="*/ 466 w 621"/>
              <a:gd name="T19" fmla="*/ 183 h 692"/>
              <a:gd name="T20" fmla="*/ 543 w 621"/>
              <a:gd name="T21" fmla="*/ 90 h 692"/>
              <a:gd name="T22" fmla="*/ 582 w 621"/>
              <a:gd name="T23" fmla="*/ 45 h 692"/>
              <a:gd name="T24" fmla="*/ 621 w 621"/>
              <a:gd name="T25" fmla="*/ 0 h 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21" h="692">
                <a:moveTo>
                  <a:pt x="0" y="692"/>
                </a:moveTo>
                <a:lnTo>
                  <a:pt x="39" y="661"/>
                </a:lnTo>
                <a:lnTo>
                  <a:pt x="77" y="626"/>
                </a:lnTo>
                <a:lnTo>
                  <a:pt x="116" y="587"/>
                </a:lnTo>
                <a:lnTo>
                  <a:pt x="155" y="548"/>
                </a:lnTo>
                <a:lnTo>
                  <a:pt x="194" y="505"/>
                </a:lnTo>
                <a:lnTo>
                  <a:pt x="233" y="462"/>
                </a:lnTo>
                <a:lnTo>
                  <a:pt x="310" y="371"/>
                </a:lnTo>
                <a:lnTo>
                  <a:pt x="388" y="278"/>
                </a:lnTo>
                <a:lnTo>
                  <a:pt x="466" y="183"/>
                </a:lnTo>
                <a:lnTo>
                  <a:pt x="543" y="90"/>
                </a:lnTo>
                <a:lnTo>
                  <a:pt x="582" y="45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74" name="Freeform 58">
            <a:extLst>
              <a:ext uri="{FF2B5EF4-FFF2-40B4-BE49-F238E27FC236}">
                <a16:creationId xmlns:a16="http://schemas.microsoft.com/office/drawing/2014/main" id="{0B6EBC86-E3A4-494A-84EA-3CAF7C4F81CE}"/>
              </a:ext>
            </a:extLst>
          </p:cNvPr>
          <p:cNvSpPr>
            <a:spLocks/>
          </p:cNvSpPr>
          <p:nvPr/>
        </p:nvSpPr>
        <p:spPr bwMode="auto">
          <a:xfrm>
            <a:off x="3673475" y="4016375"/>
            <a:ext cx="503238" cy="550863"/>
          </a:xfrm>
          <a:custGeom>
            <a:avLst/>
            <a:gdLst>
              <a:gd name="T0" fmla="*/ 0 w 621"/>
              <a:gd name="T1" fmla="*/ 693 h 693"/>
              <a:gd name="T2" fmla="*/ 39 w 621"/>
              <a:gd name="T3" fmla="*/ 649 h 693"/>
              <a:gd name="T4" fmla="*/ 78 w 621"/>
              <a:gd name="T5" fmla="*/ 604 h 693"/>
              <a:gd name="T6" fmla="*/ 155 w 621"/>
              <a:gd name="T7" fmla="*/ 509 h 693"/>
              <a:gd name="T8" fmla="*/ 233 w 621"/>
              <a:gd name="T9" fmla="*/ 414 h 693"/>
              <a:gd name="T10" fmla="*/ 311 w 621"/>
              <a:gd name="T11" fmla="*/ 316 h 693"/>
              <a:gd name="T12" fmla="*/ 350 w 621"/>
              <a:gd name="T13" fmla="*/ 272 h 693"/>
              <a:gd name="T14" fmla="*/ 388 w 621"/>
              <a:gd name="T15" fmla="*/ 225 h 693"/>
              <a:gd name="T16" fmla="*/ 427 w 621"/>
              <a:gd name="T17" fmla="*/ 182 h 693"/>
              <a:gd name="T18" fmla="*/ 466 w 621"/>
              <a:gd name="T19" fmla="*/ 140 h 693"/>
              <a:gd name="T20" fmla="*/ 505 w 621"/>
              <a:gd name="T21" fmla="*/ 101 h 693"/>
              <a:gd name="T22" fmla="*/ 544 w 621"/>
              <a:gd name="T23" fmla="*/ 64 h 693"/>
              <a:gd name="T24" fmla="*/ 582 w 621"/>
              <a:gd name="T25" fmla="*/ 31 h 693"/>
              <a:gd name="T26" fmla="*/ 621 w 621"/>
              <a:gd name="T27" fmla="*/ 0 h 6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21" h="693">
                <a:moveTo>
                  <a:pt x="0" y="693"/>
                </a:moveTo>
                <a:lnTo>
                  <a:pt x="39" y="649"/>
                </a:lnTo>
                <a:lnTo>
                  <a:pt x="78" y="604"/>
                </a:lnTo>
                <a:lnTo>
                  <a:pt x="155" y="509"/>
                </a:lnTo>
                <a:lnTo>
                  <a:pt x="233" y="414"/>
                </a:lnTo>
                <a:lnTo>
                  <a:pt x="311" y="316"/>
                </a:lnTo>
                <a:lnTo>
                  <a:pt x="350" y="272"/>
                </a:lnTo>
                <a:lnTo>
                  <a:pt x="388" y="225"/>
                </a:lnTo>
                <a:lnTo>
                  <a:pt x="427" y="182"/>
                </a:lnTo>
                <a:lnTo>
                  <a:pt x="466" y="140"/>
                </a:lnTo>
                <a:lnTo>
                  <a:pt x="505" y="101"/>
                </a:lnTo>
                <a:lnTo>
                  <a:pt x="544" y="64"/>
                </a:lnTo>
                <a:lnTo>
                  <a:pt x="582" y="31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75" name="Freeform 59">
            <a:extLst>
              <a:ext uri="{FF2B5EF4-FFF2-40B4-BE49-F238E27FC236}">
                <a16:creationId xmlns:a16="http://schemas.microsoft.com/office/drawing/2014/main" id="{FAADFDD6-4EDB-0F48-9DCA-3DF0B2B9FF62}"/>
              </a:ext>
            </a:extLst>
          </p:cNvPr>
          <p:cNvSpPr>
            <a:spLocks/>
          </p:cNvSpPr>
          <p:nvPr/>
        </p:nvSpPr>
        <p:spPr bwMode="auto">
          <a:xfrm>
            <a:off x="4176713" y="3833813"/>
            <a:ext cx="500062" cy="182562"/>
          </a:xfrm>
          <a:custGeom>
            <a:avLst/>
            <a:gdLst>
              <a:gd name="T0" fmla="*/ 0 w 622"/>
              <a:gd name="T1" fmla="*/ 229 h 229"/>
              <a:gd name="T2" fmla="*/ 39 w 622"/>
              <a:gd name="T3" fmla="*/ 202 h 229"/>
              <a:gd name="T4" fmla="*/ 78 w 622"/>
              <a:gd name="T5" fmla="*/ 174 h 229"/>
              <a:gd name="T6" fmla="*/ 117 w 622"/>
              <a:gd name="T7" fmla="*/ 149 h 229"/>
              <a:gd name="T8" fmla="*/ 156 w 622"/>
              <a:gd name="T9" fmla="*/ 126 h 229"/>
              <a:gd name="T10" fmla="*/ 194 w 622"/>
              <a:gd name="T11" fmla="*/ 105 h 229"/>
              <a:gd name="T12" fmla="*/ 233 w 622"/>
              <a:gd name="T13" fmla="*/ 85 h 229"/>
              <a:gd name="T14" fmla="*/ 272 w 622"/>
              <a:gd name="T15" fmla="*/ 66 h 229"/>
              <a:gd name="T16" fmla="*/ 311 w 622"/>
              <a:gd name="T17" fmla="*/ 50 h 229"/>
              <a:gd name="T18" fmla="*/ 350 w 622"/>
              <a:gd name="T19" fmla="*/ 37 h 229"/>
              <a:gd name="T20" fmla="*/ 389 w 622"/>
              <a:gd name="T21" fmla="*/ 25 h 229"/>
              <a:gd name="T22" fmla="*/ 427 w 622"/>
              <a:gd name="T23" fmla="*/ 15 h 229"/>
              <a:gd name="T24" fmla="*/ 466 w 622"/>
              <a:gd name="T25" fmla="*/ 7 h 229"/>
              <a:gd name="T26" fmla="*/ 505 w 622"/>
              <a:gd name="T27" fmla="*/ 4 h 229"/>
              <a:gd name="T28" fmla="*/ 544 w 622"/>
              <a:gd name="T29" fmla="*/ 0 h 229"/>
              <a:gd name="T30" fmla="*/ 583 w 622"/>
              <a:gd name="T31" fmla="*/ 2 h 229"/>
              <a:gd name="T32" fmla="*/ 622 w 622"/>
              <a:gd name="T33" fmla="*/ 4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22" h="229">
                <a:moveTo>
                  <a:pt x="0" y="229"/>
                </a:moveTo>
                <a:lnTo>
                  <a:pt x="39" y="202"/>
                </a:lnTo>
                <a:lnTo>
                  <a:pt x="78" y="174"/>
                </a:lnTo>
                <a:lnTo>
                  <a:pt x="117" y="149"/>
                </a:lnTo>
                <a:lnTo>
                  <a:pt x="156" y="126"/>
                </a:lnTo>
                <a:lnTo>
                  <a:pt x="194" y="105"/>
                </a:lnTo>
                <a:lnTo>
                  <a:pt x="233" y="85"/>
                </a:lnTo>
                <a:lnTo>
                  <a:pt x="272" y="66"/>
                </a:lnTo>
                <a:lnTo>
                  <a:pt x="311" y="50"/>
                </a:lnTo>
                <a:lnTo>
                  <a:pt x="350" y="37"/>
                </a:lnTo>
                <a:lnTo>
                  <a:pt x="389" y="25"/>
                </a:lnTo>
                <a:lnTo>
                  <a:pt x="427" y="15"/>
                </a:lnTo>
                <a:lnTo>
                  <a:pt x="466" y="7"/>
                </a:lnTo>
                <a:lnTo>
                  <a:pt x="505" y="4"/>
                </a:lnTo>
                <a:lnTo>
                  <a:pt x="544" y="0"/>
                </a:lnTo>
                <a:lnTo>
                  <a:pt x="583" y="2"/>
                </a:lnTo>
                <a:lnTo>
                  <a:pt x="622" y="4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76" name="Freeform 60">
            <a:extLst>
              <a:ext uri="{FF2B5EF4-FFF2-40B4-BE49-F238E27FC236}">
                <a16:creationId xmlns:a16="http://schemas.microsoft.com/office/drawing/2014/main" id="{220CEC25-2B17-A349-B063-C82BAE79C18F}"/>
              </a:ext>
            </a:extLst>
          </p:cNvPr>
          <p:cNvSpPr>
            <a:spLocks/>
          </p:cNvSpPr>
          <p:nvPr/>
        </p:nvSpPr>
        <p:spPr bwMode="auto">
          <a:xfrm>
            <a:off x="4676775" y="3836988"/>
            <a:ext cx="501650" cy="285750"/>
          </a:xfrm>
          <a:custGeom>
            <a:avLst/>
            <a:gdLst>
              <a:gd name="T0" fmla="*/ 0 w 619"/>
              <a:gd name="T1" fmla="*/ 0 h 359"/>
              <a:gd name="T2" fmla="*/ 38 w 619"/>
              <a:gd name="T3" fmla="*/ 5 h 359"/>
              <a:gd name="T4" fmla="*/ 77 w 619"/>
              <a:gd name="T5" fmla="*/ 15 h 359"/>
              <a:gd name="T6" fmla="*/ 116 w 619"/>
              <a:gd name="T7" fmla="*/ 27 h 359"/>
              <a:gd name="T8" fmla="*/ 155 w 619"/>
              <a:gd name="T9" fmla="*/ 42 h 359"/>
              <a:gd name="T10" fmla="*/ 194 w 619"/>
              <a:gd name="T11" fmla="*/ 60 h 359"/>
              <a:gd name="T12" fmla="*/ 233 w 619"/>
              <a:gd name="T13" fmla="*/ 79 h 359"/>
              <a:gd name="T14" fmla="*/ 271 w 619"/>
              <a:gd name="T15" fmla="*/ 102 h 359"/>
              <a:gd name="T16" fmla="*/ 308 w 619"/>
              <a:gd name="T17" fmla="*/ 126 h 359"/>
              <a:gd name="T18" fmla="*/ 347 w 619"/>
              <a:gd name="T19" fmla="*/ 151 h 359"/>
              <a:gd name="T20" fmla="*/ 386 w 619"/>
              <a:gd name="T21" fmla="*/ 178 h 359"/>
              <a:gd name="T22" fmla="*/ 464 w 619"/>
              <a:gd name="T23" fmla="*/ 236 h 359"/>
              <a:gd name="T24" fmla="*/ 541 w 619"/>
              <a:gd name="T25" fmla="*/ 297 h 359"/>
              <a:gd name="T26" fmla="*/ 619 w 619"/>
              <a:gd name="T27" fmla="*/ 359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19" h="359">
                <a:moveTo>
                  <a:pt x="0" y="0"/>
                </a:moveTo>
                <a:lnTo>
                  <a:pt x="38" y="5"/>
                </a:lnTo>
                <a:lnTo>
                  <a:pt x="77" y="15"/>
                </a:lnTo>
                <a:lnTo>
                  <a:pt x="116" y="27"/>
                </a:lnTo>
                <a:lnTo>
                  <a:pt x="155" y="42"/>
                </a:lnTo>
                <a:lnTo>
                  <a:pt x="194" y="60"/>
                </a:lnTo>
                <a:lnTo>
                  <a:pt x="233" y="79"/>
                </a:lnTo>
                <a:lnTo>
                  <a:pt x="271" y="102"/>
                </a:lnTo>
                <a:lnTo>
                  <a:pt x="308" y="126"/>
                </a:lnTo>
                <a:lnTo>
                  <a:pt x="347" y="151"/>
                </a:lnTo>
                <a:lnTo>
                  <a:pt x="386" y="178"/>
                </a:lnTo>
                <a:lnTo>
                  <a:pt x="464" y="236"/>
                </a:lnTo>
                <a:lnTo>
                  <a:pt x="541" y="297"/>
                </a:lnTo>
                <a:lnTo>
                  <a:pt x="619" y="359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77" name="Freeform 61">
            <a:extLst>
              <a:ext uri="{FF2B5EF4-FFF2-40B4-BE49-F238E27FC236}">
                <a16:creationId xmlns:a16="http://schemas.microsoft.com/office/drawing/2014/main" id="{B9A28C6C-3E37-B348-AFEE-8484D7A5C280}"/>
              </a:ext>
            </a:extLst>
          </p:cNvPr>
          <p:cNvSpPr>
            <a:spLocks/>
          </p:cNvSpPr>
          <p:nvPr/>
        </p:nvSpPr>
        <p:spPr bwMode="auto">
          <a:xfrm>
            <a:off x="5178425" y="4122738"/>
            <a:ext cx="504825" cy="498475"/>
          </a:xfrm>
          <a:custGeom>
            <a:avLst/>
            <a:gdLst>
              <a:gd name="T0" fmla="*/ 0 w 621"/>
              <a:gd name="T1" fmla="*/ 0 h 627"/>
              <a:gd name="T2" fmla="*/ 39 w 621"/>
              <a:gd name="T3" fmla="*/ 31 h 627"/>
              <a:gd name="T4" fmla="*/ 78 w 621"/>
              <a:gd name="T5" fmla="*/ 66 h 627"/>
              <a:gd name="T6" fmla="*/ 117 w 621"/>
              <a:gd name="T7" fmla="*/ 103 h 627"/>
              <a:gd name="T8" fmla="*/ 155 w 621"/>
              <a:gd name="T9" fmla="*/ 140 h 627"/>
              <a:gd name="T10" fmla="*/ 233 w 621"/>
              <a:gd name="T11" fmla="*/ 219 h 627"/>
              <a:gd name="T12" fmla="*/ 311 w 621"/>
              <a:gd name="T13" fmla="*/ 301 h 627"/>
              <a:gd name="T14" fmla="*/ 388 w 621"/>
              <a:gd name="T15" fmla="*/ 386 h 627"/>
              <a:gd name="T16" fmla="*/ 466 w 621"/>
              <a:gd name="T17" fmla="*/ 470 h 627"/>
              <a:gd name="T18" fmla="*/ 544 w 621"/>
              <a:gd name="T19" fmla="*/ 551 h 627"/>
              <a:gd name="T20" fmla="*/ 583 w 621"/>
              <a:gd name="T21" fmla="*/ 590 h 627"/>
              <a:gd name="T22" fmla="*/ 621 w 621"/>
              <a:gd name="T23" fmla="*/ 627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21" h="627">
                <a:moveTo>
                  <a:pt x="0" y="0"/>
                </a:moveTo>
                <a:lnTo>
                  <a:pt x="39" y="31"/>
                </a:lnTo>
                <a:lnTo>
                  <a:pt x="78" y="66"/>
                </a:lnTo>
                <a:lnTo>
                  <a:pt x="117" y="103"/>
                </a:lnTo>
                <a:lnTo>
                  <a:pt x="155" y="140"/>
                </a:lnTo>
                <a:lnTo>
                  <a:pt x="233" y="219"/>
                </a:lnTo>
                <a:lnTo>
                  <a:pt x="311" y="301"/>
                </a:lnTo>
                <a:lnTo>
                  <a:pt x="388" y="386"/>
                </a:lnTo>
                <a:lnTo>
                  <a:pt x="466" y="470"/>
                </a:lnTo>
                <a:lnTo>
                  <a:pt x="544" y="551"/>
                </a:lnTo>
                <a:lnTo>
                  <a:pt x="583" y="590"/>
                </a:lnTo>
                <a:lnTo>
                  <a:pt x="621" y="627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78" name="Freeform 62">
            <a:extLst>
              <a:ext uri="{FF2B5EF4-FFF2-40B4-BE49-F238E27FC236}">
                <a16:creationId xmlns:a16="http://schemas.microsoft.com/office/drawing/2014/main" id="{BBB2396A-9FF5-5342-89C6-8B8997CDD194}"/>
              </a:ext>
            </a:extLst>
          </p:cNvPr>
          <p:cNvSpPr>
            <a:spLocks/>
          </p:cNvSpPr>
          <p:nvPr/>
        </p:nvSpPr>
        <p:spPr bwMode="auto">
          <a:xfrm>
            <a:off x="5683250" y="4621213"/>
            <a:ext cx="500063" cy="436562"/>
          </a:xfrm>
          <a:custGeom>
            <a:avLst/>
            <a:gdLst>
              <a:gd name="T0" fmla="*/ 0 w 622"/>
              <a:gd name="T1" fmla="*/ 0 h 552"/>
              <a:gd name="T2" fmla="*/ 156 w 622"/>
              <a:gd name="T3" fmla="*/ 148 h 552"/>
              <a:gd name="T4" fmla="*/ 233 w 622"/>
              <a:gd name="T5" fmla="*/ 222 h 552"/>
              <a:gd name="T6" fmla="*/ 311 w 622"/>
              <a:gd name="T7" fmla="*/ 293 h 552"/>
              <a:gd name="T8" fmla="*/ 389 w 622"/>
              <a:gd name="T9" fmla="*/ 363 h 552"/>
              <a:gd name="T10" fmla="*/ 466 w 622"/>
              <a:gd name="T11" fmla="*/ 429 h 552"/>
              <a:gd name="T12" fmla="*/ 544 w 622"/>
              <a:gd name="T13" fmla="*/ 494 h 552"/>
              <a:gd name="T14" fmla="*/ 622 w 622"/>
              <a:gd name="T15" fmla="*/ 552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22" h="552">
                <a:moveTo>
                  <a:pt x="0" y="0"/>
                </a:moveTo>
                <a:lnTo>
                  <a:pt x="156" y="148"/>
                </a:lnTo>
                <a:lnTo>
                  <a:pt x="233" y="222"/>
                </a:lnTo>
                <a:lnTo>
                  <a:pt x="311" y="293"/>
                </a:lnTo>
                <a:lnTo>
                  <a:pt x="389" y="363"/>
                </a:lnTo>
                <a:lnTo>
                  <a:pt x="466" y="429"/>
                </a:lnTo>
                <a:lnTo>
                  <a:pt x="544" y="494"/>
                </a:lnTo>
                <a:lnTo>
                  <a:pt x="622" y="552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79" name="Freeform 63">
            <a:extLst>
              <a:ext uri="{FF2B5EF4-FFF2-40B4-BE49-F238E27FC236}">
                <a16:creationId xmlns:a16="http://schemas.microsoft.com/office/drawing/2014/main" id="{6510235A-494E-8B4E-8F74-FA7ABF3183F4}"/>
              </a:ext>
            </a:extLst>
          </p:cNvPr>
          <p:cNvSpPr>
            <a:spLocks/>
          </p:cNvSpPr>
          <p:nvPr/>
        </p:nvSpPr>
        <p:spPr bwMode="auto">
          <a:xfrm>
            <a:off x="6183313" y="5057775"/>
            <a:ext cx="503237" cy="276225"/>
          </a:xfrm>
          <a:custGeom>
            <a:avLst/>
            <a:gdLst>
              <a:gd name="T0" fmla="*/ 0 w 621"/>
              <a:gd name="T1" fmla="*/ 0 h 347"/>
              <a:gd name="T2" fmla="*/ 77 w 621"/>
              <a:gd name="T3" fmla="*/ 54 h 347"/>
              <a:gd name="T4" fmla="*/ 155 w 621"/>
              <a:gd name="T5" fmla="*/ 107 h 347"/>
              <a:gd name="T6" fmla="*/ 233 w 621"/>
              <a:gd name="T7" fmla="*/ 157 h 347"/>
              <a:gd name="T8" fmla="*/ 310 w 621"/>
              <a:gd name="T9" fmla="*/ 202 h 347"/>
              <a:gd name="T10" fmla="*/ 388 w 621"/>
              <a:gd name="T11" fmla="*/ 245 h 347"/>
              <a:gd name="T12" fmla="*/ 466 w 621"/>
              <a:gd name="T13" fmla="*/ 283 h 347"/>
              <a:gd name="T14" fmla="*/ 543 w 621"/>
              <a:gd name="T15" fmla="*/ 318 h 347"/>
              <a:gd name="T16" fmla="*/ 621 w 621"/>
              <a:gd name="T17" fmla="*/ 347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21" h="347">
                <a:moveTo>
                  <a:pt x="0" y="0"/>
                </a:moveTo>
                <a:lnTo>
                  <a:pt x="77" y="54"/>
                </a:lnTo>
                <a:lnTo>
                  <a:pt x="155" y="107"/>
                </a:lnTo>
                <a:lnTo>
                  <a:pt x="233" y="157"/>
                </a:lnTo>
                <a:lnTo>
                  <a:pt x="310" y="202"/>
                </a:lnTo>
                <a:lnTo>
                  <a:pt x="388" y="245"/>
                </a:lnTo>
                <a:lnTo>
                  <a:pt x="466" y="283"/>
                </a:lnTo>
                <a:lnTo>
                  <a:pt x="543" y="318"/>
                </a:lnTo>
                <a:lnTo>
                  <a:pt x="621" y="347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80" name="Freeform 64">
            <a:extLst>
              <a:ext uri="{FF2B5EF4-FFF2-40B4-BE49-F238E27FC236}">
                <a16:creationId xmlns:a16="http://schemas.microsoft.com/office/drawing/2014/main" id="{F47B5A2B-0294-C047-A10C-C5792A56054A}"/>
              </a:ext>
            </a:extLst>
          </p:cNvPr>
          <p:cNvSpPr>
            <a:spLocks/>
          </p:cNvSpPr>
          <p:nvPr/>
        </p:nvSpPr>
        <p:spPr bwMode="auto">
          <a:xfrm>
            <a:off x="6686550" y="5334000"/>
            <a:ext cx="503238" cy="69850"/>
          </a:xfrm>
          <a:custGeom>
            <a:avLst/>
            <a:gdLst>
              <a:gd name="T0" fmla="*/ 0 w 621"/>
              <a:gd name="T1" fmla="*/ 0 h 88"/>
              <a:gd name="T2" fmla="*/ 39 w 621"/>
              <a:gd name="T3" fmla="*/ 14 h 88"/>
              <a:gd name="T4" fmla="*/ 78 w 621"/>
              <a:gd name="T5" fmla="*/ 24 h 88"/>
              <a:gd name="T6" fmla="*/ 116 w 621"/>
              <a:gd name="T7" fmla="*/ 34 h 88"/>
              <a:gd name="T8" fmla="*/ 155 w 621"/>
              <a:gd name="T9" fmla="*/ 41 h 88"/>
              <a:gd name="T10" fmla="*/ 233 w 621"/>
              <a:gd name="T11" fmla="*/ 55 h 88"/>
              <a:gd name="T12" fmla="*/ 311 w 621"/>
              <a:gd name="T13" fmla="*/ 65 h 88"/>
              <a:gd name="T14" fmla="*/ 388 w 621"/>
              <a:gd name="T15" fmla="*/ 70 h 88"/>
              <a:gd name="T16" fmla="*/ 466 w 621"/>
              <a:gd name="T17" fmla="*/ 76 h 88"/>
              <a:gd name="T18" fmla="*/ 544 w 621"/>
              <a:gd name="T19" fmla="*/ 82 h 88"/>
              <a:gd name="T20" fmla="*/ 621 w 621"/>
              <a:gd name="T21" fmla="*/ 8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21" h="88">
                <a:moveTo>
                  <a:pt x="0" y="0"/>
                </a:moveTo>
                <a:lnTo>
                  <a:pt x="39" y="14"/>
                </a:lnTo>
                <a:lnTo>
                  <a:pt x="78" y="24"/>
                </a:lnTo>
                <a:lnTo>
                  <a:pt x="116" y="34"/>
                </a:lnTo>
                <a:lnTo>
                  <a:pt x="155" y="41"/>
                </a:lnTo>
                <a:lnTo>
                  <a:pt x="233" y="55"/>
                </a:lnTo>
                <a:lnTo>
                  <a:pt x="311" y="65"/>
                </a:lnTo>
                <a:lnTo>
                  <a:pt x="388" y="70"/>
                </a:lnTo>
                <a:lnTo>
                  <a:pt x="466" y="76"/>
                </a:lnTo>
                <a:lnTo>
                  <a:pt x="544" y="82"/>
                </a:lnTo>
                <a:lnTo>
                  <a:pt x="621" y="88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81" name="Freeform 65">
            <a:extLst>
              <a:ext uri="{FF2B5EF4-FFF2-40B4-BE49-F238E27FC236}">
                <a16:creationId xmlns:a16="http://schemas.microsoft.com/office/drawing/2014/main" id="{05BAB54D-267C-984F-A736-265EE0175196}"/>
              </a:ext>
            </a:extLst>
          </p:cNvPr>
          <p:cNvSpPr>
            <a:spLocks/>
          </p:cNvSpPr>
          <p:nvPr/>
        </p:nvSpPr>
        <p:spPr bwMode="auto">
          <a:xfrm>
            <a:off x="7189788" y="5403850"/>
            <a:ext cx="500062" cy="19050"/>
          </a:xfrm>
          <a:custGeom>
            <a:avLst/>
            <a:gdLst>
              <a:gd name="T0" fmla="*/ 0 w 622"/>
              <a:gd name="T1" fmla="*/ 0 h 23"/>
              <a:gd name="T2" fmla="*/ 78 w 622"/>
              <a:gd name="T3" fmla="*/ 6 h 23"/>
              <a:gd name="T4" fmla="*/ 156 w 622"/>
              <a:gd name="T5" fmla="*/ 12 h 23"/>
              <a:gd name="T6" fmla="*/ 311 w 622"/>
              <a:gd name="T7" fmla="*/ 17 h 23"/>
              <a:gd name="T8" fmla="*/ 466 w 622"/>
              <a:gd name="T9" fmla="*/ 21 h 23"/>
              <a:gd name="T10" fmla="*/ 622 w 622"/>
              <a:gd name="T11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22" h="23">
                <a:moveTo>
                  <a:pt x="0" y="0"/>
                </a:moveTo>
                <a:lnTo>
                  <a:pt x="78" y="6"/>
                </a:lnTo>
                <a:lnTo>
                  <a:pt x="156" y="12"/>
                </a:lnTo>
                <a:lnTo>
                  <a:pt x="311" y="17"/>
                </a:lnTo>
                <a:lnTo>
                  <a:pt x="466" y="21"/>
                </a:lnTo>
                <a:lnTo>
                  <a:pt x="622" y="23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82" name="Freeform 66">
            <a:extLst>
              <a:ext uri="{FF2B5EF4-FFF2-40B4-BE49-F238E27FC236}">
                <a16:creationId xmlns:a16="http://schemas.microsoft.com/office/drawing/2014/main" id="{0EFC9418-A8D5-3B4B-997A-AAEC274947FC}"/>
              </a:ext>
            </a:extLst>
          </p:cNvPr>
          <p:cNvSpPr>
            <a:spLocks/>
          </p:cNvSpPr>
          <p:nvPr/>
        </p:nvSpPr>
        <p:spPr bwMode="auto">
          <a:xfrm>
            <a:off x="2165350" y="5414963"/>
            <a:ext cx="504825" cy="9525"/>
          </a:xfrm>
          <a:custGeom>
            <a:avLst/>
            <a:gdLst>
              <a:gd name="T0" fmla="*/ 0 w 621"/>
              <a:gd name="T1" fmla="*/ 12 h 12"/>
              <a:gd name="T2" fmla="*/ 155 w 621"/>
              <a:gd name="T3" fmla="*/ 10 h 12"/>
              <a:gd name="T4" fmla="*/ 311 w 621"/>
              <a:gd name="T5" fmla="*/ 8 h 12"/>
              <a:gd name="T6" fmla="*/ 466 w 621"/>
              <a:gd name="T7" fmla="*/ 6 h 12"/>
              <a:gd name="T8" fmla="*/ 621 w 621"/>
              <a:gd name="T9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21" h="12">
                <a:moveTo>
                  <a:pt x="0" y="12"/>
                </a:moveTo>
                <a:lnTo>
                  <a:pt x="155" y="10"/>
                </a:lnTo>
                <a:lnTo>
                  <a:pt x="311" y="8"/>
                </a:lnTo>
                <a:lnTo>
                  <a:pt x="466" y="6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83" name="Freeform 67">
            <a:extLst>
              <a:ext uri="{FF2B5EF4-FFF2-40B4-BE49-F238E27FC236}">
                <a16:creationId xmlns:a16="http://schemas.microsoft.com/office/drawing/2014/main" id="{42B5A345-4665-EB47-9CA4-D3053212A9DA}"/>
              </a:ext>
            </a:extLst>
          </p:cNvPr>
          <p:cNvSpPr>
            <a:spLocks/>
          </p:cNvSpPr>
          <p:nvPr/>
        </p:nvSpPr>
        <p:spPr bwMode="auto">
          <a:xfrm>
            <a:off x="2670175" y="5381625"/>
            <a:ext cx="501650" cy="33338"/>
          </a:xfrm>
          <a:custGeom>
            <a:avLst/>
            <a:gdLst>
              <a:gd name="T0" fmla="*/ 0 w 622"/>
              <a:gd name="T1" fmla="*/ 40 h 40"/>
              <a:gd name="T2" fmla="*/ 78 w 622"/>
              <a:gd name="T3" fmla="*/ 39 h 40"/>
              <a:gd name="T4" fmla="*/ 156 w 622"/>
              <a:gd name="T5" fmla="*/ 37 h 40"/>
              <a:gd name="T6" fmla="*/ 233 w 622"/>
              <a:gd name="T7" fmla="*/ 35 h 40"/>
              <a:gd name="T8" fmla="*/ 311 w 622"/>
              <a:gd name="T9" fmla="*/ 33 h 40"/>
              <a:gd name="T10" fmla="*/ 389 w 622"/>
              <a:gd name="T11" fmla="*/ 29 h 40"/>
              <a:gd name="T12" fmla="*/ 466 w 622"/>
              <a:gd name="T13" fmla="*/ 23 h 40"/>
              <a:gd name="T14" fmla="*/ 544 w 622"/>
              <a:gd name="T15" fmla="*/ 13 h 40"/>
              <a:gd name="T16" fmla="*/ 622 w 622"/>
              <a:gd name="T17" fmla="*/ 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22" h="40">
                <a:moveTo>
                  <a:pt x="0" y="40"/>
                </a:moveTo>
                <a:lnTo>
                  <a:pt x="78" y="39"/>
                </a:lnTo>
                <a:lnTo>
                  <a:pt x="156" y="37"/>
                </a:lnTo>
                <a:lnTo>
                  <a:pt x="233" y="35"/>
                </a:lnTo>
                <a:lnTo>
                  <a:pt x="311" y="33"/>
                </a:lnTo>
                <a:lnTo>
                  <a:pt x="389" y="29"/>
                </a:lnTo>
                <a:lnTo>
                  <a:pt x="466" y="23"/>
                </a:lnTo>
                <a:lnTo>
                  <a:pt x="544" y="13"/>
                </a:lnTo>
                <a:lnTo>
                  <a:pt x="622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84" name="Freeform 68">
            <a:extLst>
              <a:ext uri="{FF2B5EF4-FFF2-40B4-BE49-F238E27FC236}">
                <a16:creationId xmlns:a16="http://schemas.microsoft.com/office/drawing/2014/main" id="{02099C56-4167-8F49-9435-DC0D261FDB54}"/>
              </a:ext>
            </a:extLst>
          </p:cNvPr>
          <p:cNvSpPr>
            <a:spLocks/>
          </p:cNvSpPr>
          <p:nvPr/>
        </p:nvSpPr>
        <p:spPr bwMode="auto">
          <a:xfrm>
            <a:off x="3171825" y="5211763"/>
            <a:ext cx="501650" cy="169862"/>
          </a:xfrm>
          <a:custGeom>
            <a:avLst/>
            <a:gdLst>
              <a:gd name="T0" fmla="*/ 0 w 621"/>
              <a:gd name="T1" fmla="*/ 216 h 216"/>
              <a:gd name="T2" fmla="*/ 77 w 621"/>
              <a:gd name="T3" fmla="*/ 200 h 216"/>
              <a:gd name="T4" fmla="*/ 155 w 621"/>
              <a:gd name="T5" fmla="*/ 183 h 216"/>
              <a:gd name="T6" fmla="*/ 233 w 621"/>
              <a:gd name="T7" fmla="*/ 161 h 216"/>
              <a:gd name="T8" fmla="*/ 310 w 621"/>
              <a:gd name="T9" fmla="*/ 140 h 216"/>
              <a:gd name="T10" fmla="*/ 388 w 621"/>
              <a:gd name="T11" fmla="*/ 113 h 216"/>
              <a:gd name="T12" fmla="*/ 466 w 621"/>
              <a:gd name="T13" fmla="*/ 82 h 216"/>
              <a:gd name="T14" fmla="*/ 505 w 621"/>
              <a:gd name="T15" fmla="*/ 64 h 216"/>
              <a:gd name="T16" fmla="*/ 543 w 621"/>
              <a:gd name="T17" fmla="*/ 45 h 216"/>
              <a:gd name="T18" fmla="*/ 582 w 621"/>
              <a:gd name="T19" fmla="*/ 23 h 216"/>
              <a:gd name="T20" fmla="*/ 621 w 621"/>
              <a:gd name="T21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21" h="216">
                <a:moveTo>
                  <a:pt x="0" y="216"/>
                </a:moveTo>
                <a:lnTo>
                  <a:pt x="77" y="200"/>
                </a:lnTo>
                <a:lnTo>
                  <a:pt x="155" y="183"/>
                </a:lnTo>
                <a:lnTo>
                  <a:pt x="233" y="161"/>
                </a:lnTo>
                <a:lnTo>
                  <a:pt x="310" y="140"/>
                </a:lnTo>
                <a:lnTo>
                  <a:pt x="388" y="113"/>
                </a:lnTo>
                <a:lnTo>
                  <a:pt x="466" y="82"/>
                </a:lnTo>
                <a:lnTo>
                  <a:pt x="505" y="64"/>
                </a:lnTo>
                <a:lnTo>
                  <a:pt x="543" y="45"/>
                </a:lnTo>
                <a:lnTo>
                  <a:pt x="582" y="23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85" name="Freeform 69">
            <a:extLst>
              <a:ext uri="{FF2B5EF4-FFF2-40B4-BE49-F238E27FC236}">
                <a16:creationId xmlns:a16="http://schemas.microsoft.com/office/drawing/2014/main" id="{080E9ED6-63DE-4B45-991A-3A942031A908}"/>
              </a:ext>
            </a:extLst>
          </p:cNvPr>
          <p:cNvSpPr>
            <a:spLocks/>
          </p:cNvSpPr>
          <p:nvPr/>
        </p:nvSpPr>
        <p:spPr bwMode="auto">
          <a:xfrm>
            <a:off x="3673475" y="4776788"/>
            <a:ext cx="503238" cy="434975"/>
          </a:xfrm>
          <a:custGeom>
            <a:avLst/>
            <a:gdLst>
              <a:gd name="T0" fmla="*/ 0 w 621"/>
              <a:gd name="T1" fmla="*/ 548 h 548"/>
              <a:gd name="T2" fmla="*/ 39 w 621"/>
              <a:gd name="T3" fmla="*/ 523 h 548"/>
              <a:gd name="T4" fmla="*/ 78 w 621"/>
              <a:gd name="T5" fmla="*/ 498 h 548"/>
              <a:gd name="T6" fmla="*/ 117 w 621"/>
              <a:gd name="T7" fmla="*/ 468 h 548"/>
              <a:gd name="T8" fmla="*/ 155 w 621"/>
              <a:gd name="T9" fmla="*/ 439 h 548"/>
              <a:gd name="T10" fmla="*/ 233 w 621"/>
              <a:gd name="T11" fmla="*/ 375 h 548"/>
              <a:gd name="T12" fmla="*/ 311 w 621"/>
              <a:gd name="T13" fmla="*/ 305 h 548"/>
              <a:gd name="T14" fmla="*/ 388 w 621"/>
              <a:gd name="T15" fmla="*/ 233 h 548"/>
              <a:gd name="T16" fmla="*/ 466 w 621"/>
              <a:gd name="T17" fmla="*/ 158 h 548"/>
              <a:gd name="T18" fmla="*/ 544 w 621"/>
              <a:gd name="T19" fmla="*/ 80 h 548"/>
              <a:gd name="T20" fmla="*/ 621 w 621"/>
              <a:gd name="T21" fmla="*/ 0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21" h="548">
                <a:moveTo>
                  <a:pt x="0" y="548"/>
                </a:moveTo>
                <a:lnTo>
                  <a:pt x="39" y="523"/>
                </a:lnTo>
                <a:lnTo>
                  <a:pt x="78" y="498"/>
                </a:lnTo>
                <a:lnTo>
                  <a:pt x="117" y="468"/>
                </a:lnTo>
                <a:lnTo>
                  <a:pt x="155" y="439"/>
                </a:lnTo>
                <a:lnTo>
                  <a:pt x="233" y="375"/>
                </a:lnTo>
                <a:lnTo>
                  <a:pt x="311" y="305"/>
                </a:lnTo>
                <a:lnTo>
                  <a:pt x="388" y="233"/>
                </a:lnTo>
                <a:lnTo>
                  <a:pt x="466" y="158"/>
                </a:lnTo>
                <a:lnTo>
                  <a:pt x="544" y="80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86" name="Freeform 70">
            <a:extLst>
              <a:ext uri="{FF2B5EF4-FFF2-40B4-BE49-F238E27FC236}">
                <a16:creationId xmlns:a16="http://schemas.microsoft.com/office/drawing/2014/main" id="{ED12054C-2C42-6F4C-AD34-825F099DF281}"/>
              </a:ext>
            </a:extLst>
          </p:cNvPr>
          <p:cNvSpPr>
            <a:spLocks/>
          </p:cNvSpPr>
          <p:nvPr/>
        </p:nvSpPr>
        <p:spPr bwMode="auto">
          <a:xfrm>
            <a:off x="4176713" y="4198938"/>
            <a:ext cx="500062" cy="577850"/>
          </a:xfrm>
          <a:custGeom>
            <a:avLst/>
            <a:gdLst>
              <a:gd name="T0" fmla="*/ 0 w 622"/>
              <a:gd name="T1" fmla="*/ 728 h 728"/>
              <a:gd name="T2" fmla="*/ 39 w 622"/>
              <a:gd name="T3" fmla="*/ 688 h 728"/>
              <a:gd name="T4" fmla="*/ 78 w 622"/>
              <a:gd name="T5" fmla="*/ 645 h 728"/>
              <a:gd name="T6" fmla="*/ 117 w 622"/>
              <a:gd name="T7" fmla="*/ 600 h 728"/>
              <a:gd name="T8" fmla="*/ 156 w 622"/>
              <a:gd name="T9" fmla="*/ 554 h 728"/>
              <a:gd name="T10" fmla="*/ 233 w 622"/>
              <a:gd name="T11" fmla="*/ 458 h 728"/>
              <a:gd name="T12" fmla="*/ 311 w 622"/>
              <a:gd name="T13" fmla="*/ 359 h 728"/>
              <a:gd name="T14" fmla="*/ 389 w 622"/>
              <a:gd name="T15" fmla="*/ 262 h 728"/>
              <a:gd name="T16" fmla="*/ 466 w 622"/>
              <a:gd name="T17" fmla="*/ 169 h 728"/>
              <a:gd name="T18" fmla="*/ 505 w 622"/>
              <a:gd name="T19" fmla="*/ 124 h 728"/>
              <a:gd name="T20" fmla="*/ 544 w 622"/>
              <a:gd name="T21" fmla="*/ 80 h 728"/>
              <a:gd name="T22" fmla="*/ 583 w 622"/>
              <a:gd name="T23" fmla="*/ 39 h 728"/>
              <a:gd name="T24" fmla="*/ 622 w 622"/>
              <a:gd name="T25" fmla="*/ 0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22" h="728">
                <a:moveTo>
                  <a:pt x="0" y="728"/>
                </a:moveTo>
                <a:lnTo>
                  <a:pt x="39" y="688"/>
                </a:lnTo>
                <a:lnTo>
                  <a:pt x="78" y="645"/>
                </a:lnTo>
                <a:lnTo>
                  <a:pt x="117" y="600"/>
                </a:lnTo>
                <a:lnTo>
                  <a:pt x="156" y="554"/>
                </a:lnTo>
                <a:lnTo>
                  <a:pt x="233" y="458"/>
                </a:lnTo>
                <a:lnTo>
                  <a:pt x="311" y="359"/>
                </a:lnTo>
                <a:lnTo>
                  <a:pt x="389" y="262"/>
                </a:lnTo>
                <a:lnTo>
                  <a:pt x="466" y="169"/>
                </a:lnTo>
                <a:lnTo>
                  <a:pt x="505" y="124"/>
                </a:lnTo>
                <a:lnTo>
                  <a:pt x="544" y="80"/>
                </a:lnTo>
                <a:lnTo>
                  <a:pt x="583" y="39"/>
                </a:lnTo>
                <a:lnTo>
                  <a:pt x="622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87" name="Freeform 71">
            <a:extLst>
              <a:ext uri="{FF2B5EF4-FFF2-40B4-BE49-F238E27FC236}">
                <a16:creationId xmlns:a16="http://schemas.microsoft.com/office/drawing/2014/main" id="{0ADD287C-E52C-7249-B5A0-65481320EB30}"/>
              </a:ext>
            </a:extLst>
          </p:cNvPr>
          <p:cNvSpPr>
            <a:spLocks/>
          </p:cNvSpPr>
          <p:nvPr/>
        </p:nvSpPr>
        <p:spPr bwMode="auto">
          <a:xfrm>
            <a:off x="4676775" y="3816350"/>
            <a:ext cx="501650" cy="382588"/>
          </a:xfrm>
          <a:custGeom>
            <a:avLst/>
            <a:gdLst>
              <a:gd name="T0" fmla="*/ 0 w 619"/>
              <a:gd name="T1" fmla="*/ 482 h 482"/>
              <a:gd name="T2" fmla="*/ 77 w 619"/>
              <a:gd name="T3" fmla="*/ 406 h 482"/>
              <a:gd name="T4" fmla="*/ 155 w 619"/>
              <a:gd name="T5" fmla="*/ 331 h 482"/>
              <a:gd name="T6" fmla="*/ 233 w 619"/>
              <a:gd name="T7" fmla="*/ 259 h 482"/>
              <a:gd name="T8" fmla="*/ 271 w 619"/>
              <a:gd name="T9" fmla="*/ 224 h 482"/>
              <a:gd name="T10" fmla="*/ 308 w 619"/>
              <a:gd name="T11" fmla="*/ 191 h 482"/>
              <a:gd name="T12" fmla="*/ 347 w 619"/>
              <a:gd name="T13" fmla="*/ 158 h 482"/>
              <a:gd name="T14" fmla="*/ 386 w 619"/>
              <a:gd name="T15" fmla="*/ 129 h 482"/>
              <a:gd name="T16" fmla="*/ 425 w 619"/>
              <a:gd name="T17" fmla="*/ 101 h 482"/>
              <a:gd name="T18" fmla="*/ 464 w 619"/>
              <a:gd name="T19" fmla="*/ 74 h 482"/>
              <a:gd name="T20" fmla="*/ 503 w 619"/>
              <a:gd name="T21" fmla="*/ 51 h 482"/>
              <a:gd name="T22" fmla="*/ 541 w 619"/>
              <a:gd name="T23" fmla="*/ 31 h 482"/>
              <a:gd name="T24" fmla="*/ 580 w 619"/>
              <a:gd name="T25" fmla="*/ 14 h 482"/>
              <a:gd name="T26" fmla="*/ 619 w 619"/>
              <a:gd name="T27" fmla="*/ 0 h 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19" h="482">
                <a:moveTo>
                  <a:pt x="0" y="482"/>
                </a:moveTo>
                <a:lnTo>
                  <a:pt x="77" y="406"/>
                </a:lnTo>
                <a:lnTo>
                  <a:pt x="155" y="331"/>
                </a:lnTo>
                <a:lnTo>
                  <a:pt x="233" y="259"/>
                </a:lnTo>
                <a:lnTo>
                  <a:pt x="271" y="224"/>
                </a:lnTo>
                <a:lnTo>
                  <a:pt x="308" y="191"/>
                </a:lnTo>
                <a:lnTo>
                  <a:pt x="347" y="158"/>
                </a:lnTo>
                <a:lnTo>
                  <a:pt x="386" y="129"/>
                </a:lnTo>
                <a:lnTo>
                  <a:pt x="425" y="101"/>
                </a:lnTo>
                <a:lnTo>
                  <a:pt x="464" y="74"/>
                </a:lnTo>
                <a:lnTo>
                  <a:pt x="503" y="51"/>
                </a:lnTo>
                <a:lnTo>
                  <a:pt x="541" y="31"/>
                </a:lnTo>
                <a:lnTo>
                  <a:pt x="580" y="14"/>
                </a:lnTo>
                <a:lnTo>
                  <a:pt x="619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88" name="Freeform 72">
            <a:extLst>
              <a:ext uri="{FF2B5EF4-FFF2-40B4-BE49-F238E27FC236}">
                <a16:creationId xmlns:a16="http://schemas.microsoft.com/office/drawing/2014/main" id="{F8EF7F29-E230-CE40-B3E2-99BE43BA3D82}"/>
              </a:ext>
            </a:extLst>
          </p:cNvPr>
          <p:cNvSpPr>
            <a:spLocks/>
          </p:cNvSpPr>
          <p:nvPr/>
        </p:nvSpPr>
        <p:spPr bwMode="auto">
          <a:xfrm>
            <a:off x="5178425" y="3786188"/>
            <a:ext cx="504825" cy="100012"/>
          </a:xfrm>
          <a:custGeom>
            <a:avLst/>
            <a:gdLst>
              <a:gd name="T0" fmla="*/ 0 w 621"/>
              <a:gd name="T1" fmla="*/ 37 h 127"/>
              <a:gd name="T2" fmla="*/ 39 w 621"/>
              <a:gd name="T3" fmla="*/ 26 h 127"/>
              <a:gd name="T4" fmla="*/ 78 w 621"/>
              <a:gd name="T5" fmla="*/ 16 h 127"/>
              <a:gd name="T6" fmla="*/ 117 w 621"/>
              <a:gd name="T7" fmla="*/ 10 h 127"/>
              <a:gd name="T8" fmla="*/ 155 w 621"/>
              <a:gd name="T9" fmla="*/ 4 h 127"/>
              <a:gd name="T10" fmla="*/ 194 w 621"/>
              <a:gd name="T11" fmla="*/ 2 h 127"/>
              <a:gd name="T12" fmla="*/ 233 w 621"/>
              <a:gd name="T13" fmla="*/ 0 h 127"/>
              <a:gd name="T14" fmla="*/ 272 w 621"/>
              <a:gd name="T15" fmla="*/ 2 h 127"/>
              <a:gd name="T16" fmla="*/ 311 w 621"/>
              <a:gd name="T17" fmla="*/ 6 h 127"/>
              <a:gd name="T18" fmla="*/ 350 w 621"/>
              <a:gd name="T19" fmla="*/ 14 h 127"/>
              <a:gd name="T20" fmla="*/ 388 w 621"/>
              <a:gd name="T21" fmla="*/ 22 h 127"/>
              <a:gd name="T22" fmla="*/ 427 w 621"/>
              <a:gd name="T23" fmla="*/ 33 h 127"/>
              <a:gd name="T24" fmla="*/ 466 w 621"/>
              <a:gd name="T25" fmla="*/ 47 h 127"/>
              <a:gd name="T26" fmla="*/ 505 w 621"/>
              <a:gd name="T27" fmla="*/ 63 h 127"/>
              <a:gd name="T28" fmla="*/ 544 w 621"/>
              <a:gd name="T29" fmla="*/ 82 h 127"/>
              <a:gd name="T30" fmla="*/ 583 w 621"/>
              <a:gd name="T31" fmla="*/ 103 h 127"/>
              <a:gd name="T32" fmla="*/ 621 w 621"/>
              <a:gd name="T33" fmla="*/ 127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21" h="127">
                <a:moveTo>
                  <a:pt x="0" y="37"/>
                </a:moveTo>
                <a:lnTo>
                  <a:pt x="39" y="26"/>
                </a:lnTo>
                <a:lnTo>
                  <a:pt x="78" y="16"/>
                </a:lnTo>
                <a:lnTo>
                  <a:pt x="117" y="10"/>
                </a:lnTo>
                <a:lnTo>
                  <a:pt x="155" y="4"/>
                </a:lnTo>
                <a:lnTo>
                  <a:pt x="194" y="2"/>
                </a:lnTo>
                <a:lnTo>
                  <a:pt x="233" y="0"/>
                </a:lnTo>
                <a:lnTo>
                  <a:pt x="272" y="2"/>
                </a:lnTo>
                <a:lnTo>
                  <a:pt x="311" y="6"/>
                </a:lnTo>
                <a:lnTo>
                  <a:pt x="350" y="14"/>
                </a:lnTo>
                <a:lnTo>
                  <a:pt x="388" y="22"/>
                </a:lnTo>
                <a:lnTo>
                  <a:pt x="427" y="33"/>
                </a:lnTo>
                <a:lnTo>
                  <a:pt x="466" y="47"/>
                </a:lnTo>
                <a:lnTo>
                  <a:pt x="505" y="63"/>
                </a:lnTo>
                <a:lnTo>
                  <a:pt x="544" y="82"/>
                </a:lnTo>
                <a:lnTo>
                  <a:pt x="583" y="103"/>
                </a:lnTo>
                <a:lnTo>
                  <a:pt x="621" y="127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89" name="Freeform 73">
            <a:extLst>
              <a:ext uri="{FF2B5EF4-FFF2-40B4-BE49-F238E27FC236}">
                <a16:creationId xmlns:a16="http://schemas.microsoft.com/office/drawing/2014/main" id="{BE0659C6-538C-904C-AFFF-519A6082438D}"/>
              </a:ext>
            </a:extLst>
          </p:cNvPr>
          <p:cNvSpPr>
            <a:spLocks/>
          </p:cNvSpPr>
          <p:nvPr/>
        </p:nvSpPr>
        <p:spPr bwMode="auto">
          <a:xfrm>
            <a:off x="5683250" y="3886200"/>
            <a:ext cx="500063" cy="573088"/>
          </a:xfrm>
          <a:custGeom>
            <a:avLst/>
            <a:gdLst>
              <a:gd name="T0" fmla="*/ 0 w 622"/>
              <a:gd name="T1" fmla="*/ 0 h 720"/>
              <a:gd name="T2" fmla="*/ 39 w 622"/>
              <a:gd name="T3" fmla="*/ 27 h 720"/>
              <a:gd name="T4" fmla="*/ 78 w 622"/>
              <a:gd name="T5" fmla="*/ 60 h 720"/>
              <a:gd name="T6" fmla="*/ 117 w 622"/>
              <a:gd name="T7" fmla="*/ 97 h 720"/>
              <a:gd name="T8" fmla="*/ 156 w 622"/>
              <a:gd name="T9" fmla="*/ 136 h 720"/>
              <a:gd name="T10" fmla="*/ 195 w 622"/>
              <a:gd name="T11" fmla="*/ 180 h 720"/>
              <a:gd name="T12" fmla="*/ 233 w 622"/>
              <a:gd name="T13" fmla="*/ 225 h 720"/>
              <a:gd name="T14" fmla="*/ 272 w 622"/>
              <a:gd name="T15" fmla="*/ 274 h 720"/>
              <a:gd name="T16" fmla="*/ 311 w 622"/>
              <a:gd name="T17" fmla="*/ 324 h 720"/>
              <a:gd name="T18" fmla="*/ 389 w 622"/>
              <a:gd name="T19" fmla="*/ 425 h 720"/>
              <a:gd name="T20" fmla="*/ 466 w 622"/>
              <a:gd name="T21" fmla="*/ 528 h 720"/>
              <a:gd name="T22" fmla="*/ 505 w 622"/>
              <a:gd name="T23" fmla="*/ 578 h 720"/>
              <a:gd name="T24" fmla="*/ 544 w 622"/>
              <a:gd name="T25" fmla="*/ 629 h 720"/>
              <a:gd name="T26" fmla="*/ 583 w 622"/>
              <a:gd name="T27" fmla="*/ 676 h 720"/>
              <a:gd name="T28" fmla="*/ 622 w 622"/>
              <a:gd name="T29" fmla="*/ 72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22" h="720">
                <a:moveTo>
                  <a:pt x="0" y="0"/>
                </a:moveTo>
                <a:lnTo>
                  <a:pt x="39" y="27"/>
                </a:lnTo>
                <a:lnTo>
                  <a:pt x="78" y="60"/>
                </a:lnTo>
                <a:lnTo>
                  <a:pt x="117" y="97"/>
                </a:lnTo>
                <a:lnTo>
                  <a:pt x="156" y="136"/>
                </a:lnTo>
                <a:lnTo>
                  <a:pt x="195" y="180"/>
                </a:lnTo>
                <a:lnTo>
                  <a:pt x="233" y="225"/>
                </a:lnTo>
                <a:lnTo>
                  <a:pt x="272" y="274"/>
                </a:lnTo>
                <a:lnTo>
                  <a:pt x="311" y="324"/>
                </a:lnTo>
                <a:lnTo>
                  <a:pt x="389" y="425"/>
                </a:lnTo>
                <a:lnTo>
                  <a:pt x="466" y="528"/>
                </a:lnTo>
                <a:lnTo>
                  <a:pt x="505" y="578"/>
                </a:lnTo>
                <a:lnTo>
                  <a:pt x="544" y="629"/>
                </a:lnTo>
                <a:lnTo>
                  <a:pt x="583" y="676"/>
                </a:lnTo>
                <a:lnTo>
                  <a:pt x="622" y="72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90" name="Freeform 74">
            <a:extLst>
              <a:ext uri="{FF2B5EF4-FFF2-40B4-BE49-F238E27FC236}">
                <a16:creationId xmlns:a16="http://schemas.microsoft.com/office/drawing/2014/main" id="{12B90DC3-1F8A-E646-9A91-A902A412F424}"/>
              </a:ext>
            </a:extLst>
          </p:cNvPr>
          <p:cNvSpPr>
            <a:spLocks/>
          </p:cNvSpPr>
          <p:nvPr/>
        </p:nvSpPr>
        <p:spPr bwMode="auto">
          <a:xfrm>
            <a:off x="6183313" y="4459288"/>
            <a:ext cx="503237" cy="534987"/>
          </a:xfrm>
          <a:custGeom>
            <a:avLst/>
            <a:gdLst>
              <a:gd name="T0" fmla="*/ 0 w 621"/>
              <a:gd name="T1" fmla="*/ 0 h 674"/>
              <a:gd name="T2" fmla="*/ 77 w 621"/>
              <a:gd name="T3" fmla="*/ 90 h 674"/>
              <a:gd name="T4" fmla="*/ 155 w 621"/>
              <a:gd name="T5" fmla="*/ 179 h 674"/>
              <a:gd name="T6" fmla="*/ 233 w 621"/>
              <a:gd name="T7" fmla="*/ 270 h 674"/>
              <a:gd name="T8" fmla="*/ 310 w 621"/>
              <a:gd name="T9" fmla="*/ 360 h 674"/>
              <a:gd name="T10" fmla="*/ 388 w 621"/>
              <a:gd name="T11" fmla="*/ 447 h 674"/>
              <a:gd name="T12" fmla="*/ 427 w 621"/>
              <a:gd name="T13" fmla="*/ 488 h 674"/>
              <a:gd name="T14" fmla="*/ 466 w 621"/>
              <a:gd name="T15" fmla="*/ 529 h 674"/>
              <a:gd name="T16" fmla="*/ 504 w 621"/>
              <a:gd name="T17" fmla="*/ 567 h 674"/>
              <a:gd name="T18" fmla="*/ 543 w 621"/>
              <a:gd name="T19" fmla="*/ 604 h 674"/>
              <a:gd name="T20" fmla="*/ 582 w 621"/>
              <a:gd name="T21" fmla="*/ 641 h 674"/>
              <a:gd name="T22" fmla="*/ 621 w 621"/>
              <a:gd name="T23" fmla="*/ 674 h 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21" h="674">
                <a:moveTo>
                  <a:pt x="0" y="0"/>
                </a:moveTo>
                <a:lnTo>
                  <a:pt x="77" y="90"/>
                </a:lnTo>
                <a:lnTo>
                  <a:pt x="155" y="179"/>
                </a:lnTo>
                <a:lnTo>
                  <a:pt x="233" y="270"/>
                </a:lnTo>
                <a:lnTo>
                  <a:pt x="310" y="360"/>
                </a:lnTo>
                <a:lnTo>
                  <a:pt x="388" y="447"/>
                </a:lnTo>
                <a:lnTo>
                  <a:pt x="427" y="488"/>
                </a:lnTo>
                <a:lnTo>
                  <a:pt x="466" y="529"/>
                </a:lnTo>
                <a:lnTo>
                  <a:pt x="504" y="567"/>
                </a:lnTo>
                <a:lnTo>
                  <a:pt x="543" y="604"/>
                </a:lnTo>
                <a:lnTo>
                  <a:pt x="582" y="641"/>
                </a:lnTo>
                <a:lnTo>
                  <a:pt x="621" y="674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91" name="Freeform 75">
            <a:extLst>
              <a:ext uri="{FF2B5EF4-FFF2-40B4-BE49-F238E27FC236}">
                <a16:creationId xmlns:a16="http://schemas.microsoft.com/office/drawing/2014/main" id="{316907A0-AC3A-F542-AF42-EC30D2D29866}"/>
              </a:ext>
            </a:extLst>
          </p:cNvPr>
          <p:cNvSpPr>
            <a:spLocks/>
          </p:cNvSpPr>
          <p:nvPr/>
        </p:nvSpPr>
        <p:spPr bwMode="auto">
          <a:xfrm>
            <a:off x="6686550" y="4994275"/>
            <a:ext cx="503238" cy="288925"/>
          </a:xfrm>
          <a:custGeom>
            <a:avLst/>
            <a:gdLst>
              <a:gd name="T0" fmla="*/ 0 w 621"/>
              <a:gd name="T1" fmla="*/ 0 h 365"/>
              <a:gd name="T2" fmla="*/ 39 w 621"/>
              <a:gd name="T3" fmla="*/ 31 h 365"/>
              <a:gd name="T4" fmla="*/ 78 w 621"/>
              <a:gd name="T5" fmla="*/ 62 h 365"/>
              <a:gd name="T6" fmla="*/ 155 w 621"/>
              <a:gd name="T7" fmla="*/ 119 h 365"/>
              <a:gd name="T8" fmla="*/ 233 w 621"/>
              <a:gd name="T9" fmla="*/ 169 h 365"/>
              <a:gd name="T10" fmla="*/ 311 w 621"/>
              <a:gd name="T11" fmla="*/ 216 h 365"/>
              <a:gd name="T12" fmla="*/ 388 w 621"/>
              <a:gd name="T13" fmla="*/ 259 h 365"/>
              <a:gd name="T14" fmla="*/ 466 w 621"/>
              <a:gd name="T15" fmla="*/ 297 h 365"/>
              <a:gd name="T16" fmla="*/ 544 w 621"/>
              <a:gd name="T17" fmla="*/ 332 h 365"/>
              <a:gd name="T18" fmla="*/ 621 w 621"/>
              <a:gd name="T19" fmla="*/ 365 h 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21" h="365">
                <a:moveTo>
                  <a:pt x="0" y="0"/>
                </a:moveTo>
                <a:lnTo>
                  <a:pt x="39" y="31"/>
                </a:lnTo>
                <a:lnTo>
                  <a:pt x="78" y="62"/>
                </a:lnTo>
                <a:lnTo>
                  <a:pt x="155" y="119"/>
                </a:lnTo>
                <a:lnTo>
                  <a:pt x="233" y="169"/>
                </a:lnTo>
                <a:lnTo>
                  <a:pt x="311" y="216"/>
                </a:lnTo>
                <a:lnTo>
                  <a:pt x="388" y="259"/>
                </a:lnTo>
                <a:lnTo>
                  <a:pt x="466" y="297"/>
                </a:lnTo>
                <a:lnTo>
                  <a:pt x="544" y="332"/>
                </a:lnTo>
                <a:lnTo>
                  <a:pt x="621" y="365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92" name="Freeform 76">
            <a:extLst>
              <a:ext uri="{FF2B5EF4-FFF2-40B4-BE49-F238E27FC236}">
                <a16:creationId xmlns:a16="http://schemas.microsoft.com/office/drawing/2014/main" id="{9FFE087E-620B-3F44-961B-A8427654CE0E}"/>
              </a:ext>
            </a:extLst>
          </p:cNvPr>
          <p:cNvSpPr>
            <a:spLocks/>
          </p:cNvSpPr>
          <p:nvPr/>
        </p:nvSpPr>
        <p:spPr bwMode="auto">
          <a:xfrm>
            <a:off x="7189788" y="5283200"/>
            <a:ext cx="500062" cy="117475"/>
          </a:xfrm>
          <a:custGeom>
            <a:avLst/>
            <a:gdLst>
              <a:gd name="T0" fmla="*/ 0 w 622"/>
              <a:gd name="T1" fmla="*/ 0 h 148"/>
              <a:gd name="T2" fmla="*/ 78 w 622"/>
              <a:gd name="T3" fmla="*/ 30 h 148"/>
              <a:gd name="T4" fmla="*/ 156 w 622"/>
              <a:gd name="T5" fmla="*/ 55 h 148"/>
              <a:gd name="T6" fmla="*/ 233 w 622"/>
              <a:gd name="T7" fmla="*/ 78 h 148"/>
              <a:gd name="T8" fmla="*/ 311 w 622"/>
              <a:gd name="T9" fmla="*/ 96 h 148"/>
              <a:gd name="T10" fmla="*/ 389 w 622"/>
              <a:gd name="T11" fmla="*/ 111 h 148"/>
              <a:gd name="T12" fmla="*/ 466 w 622"/>
              <a:gd name="T13" fmla="*/ 125 h 148"/>
              <a:gd name="T14" fmla="*/ 544 w 622"/>
              <a:gd name="T15" fmla="*/ 136 h 148"/>
              <a:gd name="T16" fmla="*/ 622 w 622"/>
              <a:gd name="T17" fmla="*/ 14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22" h="148">
                <a:moveTo>
                  <a:pt x="0" y="0"/>
                </a:moveTo>
                <a:lnTo>
                  <a:pt x="78" y="30"/>
                </a:lnTo>
                <a:lnTo>
                  <a:pt x="156" y="55"/>
                </a:lnTo>
                <a:lnTo>
                  <a:pt x="233" y="78"/>
                </a:lnTo>
                <a:lnTo>
                  <a:pt x="311" y="96"/>
                </a:lnTo>
                <a:lnTo>
                  <a:pt x="389" y="111"/>
                </a:lnTo>
                <a:lnTo>
                  <a:pt x="466" y="125"/>
                </a:lnTo>
                <a:lnTo>
                  <a:pt x="544" y="136"/>
                </a:lnTo>
                <a:lnTo>
                  <a:pt x="622" y="148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893" name="Rectangle 77">
            <a:extLst>
              <a:ext uri="{FF2B5EF4-FFF2-40B4-BE49-F238E27FC236}">
                <a16:creationId xmlns:a16="http://schemas.microsoft.com/office/drawing/2014/main" id="{36A699D6-65B1-7640-BE6D-63DDC5777D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4313" y="5348288"/>
            <a:ext cx="9048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0</a:t>
            </a:r>
            <a:endParaRPr lang="de-DE" altLang="de-DE" sz="1400"/>
          </a:p>
        </p:txBody>
      </p:sp>
      <p:sp>
        <p:nvSpPr>
          <p:cNvPr id="34894" name="Rectangle 78">
            <a:extLst>
              <a:ext uri="{FF2B5EF4-FFF2-40B4-BE49-F238E27FC236}">
                <a16:creationId xmlns:a16="http://schemas.microsoft.com/office/drawing/2014/main" id="{FC67F2D8-6C01-8549-846F-AF2BF83452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6525" y="4659313"/>
            <a:ext cx="182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10</a:t>
            </a:r>
            <a:endParaRPr lang="de-DE" altLang="de-DE" sz="1400"/>
          </a:p>
        </p:txBody>
      </p:sp>
      <p:sp>
        <p:nvSpPr>
          <p:cNvPr id="34895" name="Rectangle 79">
            <a:extLst>
              <a:ext uri="{FF2B5EF4-FFF2-40B4-BE49-F238E27FC236}">
                <a16:creationId xmlns:a16="http://schemas.microsoft.com/office/drawing/2014/main" id="{DC1B8BE2-30BC-1E41-87F0-EEC8CA7AEC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6525" y="3970338"/>
            <a:ext cx="182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20</a:t>
            </a:r>
            <a:endParaRPr lang="de-DE" altLang="de-DE" sz="1400"/>
          </a:p>
        </p:txBody>
      </p:sp>
      <p:sp>
        <p:nvSpPr>
          <p:cNvPr id="34896" name="Rectangle 80">
            <a:extLst>
              <a:ext uri="{FF2B5EF4-FFF2-40B4-BE49-F238E27FC236}">
                <a16:creationId xmlns:a16="http://schemas.microsoft.com/office/drawing/2014/main" id="{21CF0E4F-E799-C147-8679-FBFE8E397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6525" y="3281363"/>
            <a:ext cx="182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30</a:t>
            </a:r>
            <a:endParaRPr lang="de-DE" altLang="de-DE" sz="1400"/>
          </a:p>
        </p:txBody>
      </p:sp>
      <p:sp>
        <p:nvSpPr>
          <p:cNvPr id="34897" name="Rectangle 81">
            <a:extLst>
              <a:ext uri="{FF2B5EF4-FFF2-40B4-BE49-F238E27FC236}">
                <a16:creationId xmlns:a16="http://schemas.microsoft.com/office/drawing/2014/main" id="{E97CA3CA-F77D-B945-B95F-043A3AD583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6525" y="2593975"/>
            <a:ext cx="182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40</a:t>
            </a:r>
            <a:endParaRPr lang="de-DE" altLang="de-DE" sz="1400"/>
          </a:p>
        </p:txBody>
      </p:sp>
      <p:sp>
        <p:nvSpPr>
          <p:cNvPr id="34898" name="Rectangle 82">
            <a:extLst>
              <a:ext uri="{FF2B5EF4-FFF2-40B4-BE49-F238E27FC236}">
                <a16:creationId xmlns:a16="http://schemas.microsoft.com/office/drawing/2014/main" id="{EF5AA217-323C-2B40-B07D-7F3BACA74D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6525" y="1905000"/>
            <a:ext cx="182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50</a:t>
            </a:r>
            <a:endParaRPr lang="de-DE" altLang="de-DE" sz="1400"/>
          </a:p>
        </p:txBody>
      </p:sp>
      <p:sp>
        <p:nvSpPr>
          <p:cNvPr id="34899" name="Rectangle 83">
            <a:extLst>
              <a:ext uri="{FF2B5EF4-FFF2-40B4-BE49-F238E27FC236}">
                <a16:creationId xmlns:a16="http://schemas.microsoft.com/office/drawing/2014/main" id="{354A56B9-31F8-D741-8B29-DE32F06595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70038" y="5561013"/>
            <a:ext cx="2714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200</a:t>
            </a:r>
            <a:endParaRPr lang="de-DE" altLang="de-DE" sz="1400"/>
          </a:p>
        </p:txBody>
      </p:sp>
      <p:sp>
        <p:nvSpPr>
          <p:cNvPr id="34900" name="Rectangle 84">
            <a:extLst>
              <a:ext uri="{FF2B5EF4-FFF2-40B4-BE49-F238E27FC236}">
                <a16:creationId xmlns:a16="http://schemas.microsoft.com/office/drawing/2014/main" id="{AC0BBB20-F971-8D46-A602-320DE082D0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71688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250</a:t>
            </a:r>
            <a:endParaRPr lang="de-DE" altLang="de-DE" sz="1400"/>
          </a:p>
        </p:txBody>
      </p:sp>
      <p:sp>
        <p:nvSpPr>
          <p:cNvPr id="34901" name="Rectangle 85">
            <a:extLst>
              <a:ext uri="{FF2B5EF4-FFF2-40B4-BE49-F238E27FC236}">
                <a16:creationId xmlns:a16="http://schemas.microsoft.com/office/drawing/2014/main" id="{12411457-596A-634F-992B-96DC43FDB0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4925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300</a:t>
            </a:r>
            <a:endParaRPr lang="de-DE" altLang="de-DE" sz="1400"/>
          </a:p>
        </p:txBody>
      </p:sp>
      <p:sp>
        <p:nvSpPr>
          <p:cNvPr id="34902" name="Rectangle 86">
            <a:extLst>
              <a:ext uri="{FF2B5EF4-FFF2-40B4-BE49-F238E27FC236}">
                <a16:creationId xmlns:a16="http://schemas.microsoft.com/office/drawing/2014/main" id="{8242A624-9B9F-434A-B140-F6AF1DF038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6575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350</a:t>
            </a:r>
            <a:endParaRPr lang="de-DE" altLang="de-DE" sz="1400"/>
          </a:p>
        </p:txBody>
      </p:sp>
      <p:sp>
        <p:nvSpPr>
          <p:cNvPr id="34903" name="Rectangle 87">
            <a:extLst>
              <a:ext uri="{FF2B5EF4-FFF2-40B4-BE49-F238E27FC236}">
                <a16:creationId xmlns:a16="http://schemas.microsoft.com/office/drawing/2014/main" id="{B57D33C1-45ED-B648-95FB-F0A97611EC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8225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400</a:t>
            </a:r>
            <a:endParaRPr lang="de-DE" altLang="de-DE" sz="1400"/>
          </a:p>
        </p:txBody>
      </p:sp>
      <p:sp>
        <p:nvSpPr>
          <p:cNvPr id="34904" name="Rectangle 88">
            <a:extLst>
              <a:ext uri="{FF2B5EF4-FFF2-40B4-BE49-F238E27FC236}">
                <a16:creationId xmlns:a16="http://schemas.microsoft.com/office/drawing/2014/main" id="{17313618-DFA9-2A40-846B-E6208ACCD2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3050" y="5561013"/>
            <a:ext cx="2714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450</a:t>
            </a:r>
            <a:endParaRPr lang="de-DE" altLang="de-DE" sz="1400"/>
          </a:p>
        </p:txBody>
      </p:sp>
      <p:sp>
        <p:nvSpPr>
          <p:cNvPr id="34905" name="Rectangle 89">
            <a:extLst>
              <a:ext uri="{FF2B5EF4-FFF2-40B4-BE49-F238E27FC236}">
                <a16:creationId xmlns:a16="http://schemas.microsoft.com/office/drawing/2014/main" id="{3B3D58AC-6658-1643-A370-B56E332488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1525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500</a:t>
            </a:r>
            <a:endParaRPr lang="de-DE" altLang="de-DE" sz="1400"/>
          </a:p>
        </p:txBody>
      </p:sp>
      <p:sp>
        <p:nvSpPr>
          <p:cNvPr id="34906" name="Rectangle 90">
            <a:extLst>
              <a:ext uri="{FF2B5EF4-FFF2-40B4-BE49-F238E27FC236}">
                <a16:creationId xmlns:a16="http://schemas.microsoft.com/office/drawing/2014/main" id="{28261D29-7A5F-5E41-8A1B-AEBC03DA76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3175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550</a:t>
            </a:r>
            <a:endParaRPr lang="de-DE" altLang="de-DE" sz="1400"/>
          </a:p>
        </p:txBody>
      </p:sp>
      <p:sp>
        <p:nvSpPr>
          <p:cNvPr id="34907" name="Rectangle 91">
            <a:extLst>
              <a:ext uri="{FF2B5EF4-FFF2-40B4-BE49-F238E27FC236}">
                <a16:creationId xmlns:a16="http://schemas.microsoft.com/office/drawing/2014/main" id="{0BA17204-B75C-D24F-B0BB-071BB0DF4C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9588" y="5561013"/>
            <a:ext cx="2714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600</a:t>
            </a:r>
            <a:endParaRPr lang="de-DE" altLang="de-DE" sz="1400"/>
          </a:p>
        </p:txBody>
      </p:sp>
      <p:sp>
        <p:nvSpPr>
          <p:cNvPr id="34908" name="Rectangle 92">
            <a:extLst>
              <a:ext uri="{FF2B5EF4-FFF2-40B4-BE49-F238E27FC236}">
                <a16:creationId xmlns:a16="http://schemas.microsoft.com/office/drawing/2014/main" id="{1DBB80D1-59AA-B043-AC08-1C3F156542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8063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650</a:t>
            </a:r>
            <a:endParaRPr lang="de-DE" altLang="de-DE" sz="1400"/>
          </a:p>
        </p:txBody>
      </p:sp>
      <p:sp>
        <p:nvSpPr>
          <p:cNvPr id="34909" name="Rectangle 93">
            <a:extLst>
              <a:ext uri="{FF2B5EF4-FFF2-40B4-BE49-F238E27FC236}">
                <a16:creationId xmlns:a16="http://schemas.microsoft.com/office/drawing/2014/main" id="{D856742B-0E8A-DC49-A73B-E72902CDCD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2888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700</a:t>
            </a:r>
            <a:endParaRPr lang="de-DE" altLang="de-DE" sz="1400"/>
          </a:p>
        </p:txBody>
      </p:sp>
      <p:sp>
        <p:nvSpPr>
          <p:cNvPr id="34910" name="Rectangle 94">
            <a:extLst>
              <a:ext uri="{FF2B5EF4-FFF2-40B4-BE49-F238E27FC236}">
                <a16:creationId xmlns:a16="http://schemas.microsoft.com/office/drawing/2014/main" id="{26EF89EC-C938-1246-ABEF-713DB15F90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4538" y="5561013"/>
            <a:ext cx="2714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750</a:t>
            </a:r>
            <a:endParaRPr lang="de-DE" altLang="de-DE" sz="1400"/>
          </a:p>
        </p:txBody>
      </p:sp>
      <p:sp>
        <p:nvSpPr>
          <p:cNvPr id="34911" name="Rectangle 95">
            <a:extLst>
              <a:ext uri="{FF2B5EF4-FFF2-40B4-BE49-F238E27FC236}">
                <a16:creationId xmlns:a16="http://schemas.microsoft.com/office/drawing/2014/main" id="{76283FD8-B4D2-4149-A047-187817422F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96188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800</a:t>
            </a:r>
            <a:endParaRPr lang="de-DE" altLang="de-DE" sz="1400"/>
          </a:p>
        </p:txBody>
      </p:sp>
      <p:sp>
        <p:nvSpPr>
          <p:cNvPr id="34912" name="Rectangle 96">
            <a:extLst>
              <a:ext uri="{FF2B5EF4-FFF2-40B4-BE49-F238E27FC236}">
                <a16:creationId xmlns:a16="http://schemas.microsoft.com/office/drawing/2014/main" id="{D1781F0B-950B-F743-870D-69066FDF6E2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932656" y="3690144"/>
            <a:ext cx="611188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Prozent</a:t>
            </a:r>
            <a:endParaRPr lang="de-DE" altLang="de-DE" sz="1400"/>
          </a:p>
        </p:txBody>
      </p:sp>
      <p:sp>
        <p:nvSpPr>
          <p:cNvPr id="34913" name="Rectangle 97">
            <a:extLst>
              <a:ext uri="{FF2B5EF4-FFF2-40B4-BE49-F238E27FC236}">
                <a16:creationId xmlns:a16="http://schemas.microsoft.com/office/drawing/2014/main" id="{9551F26D-00BA-D141-8B7F-E667A97511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47900" y="1773238"/>
            <a:ext cx="4773613" cy="3365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914" name="Line 98">
            <a:extLst>
              <a:ext uri="{FF2B5EF4-FFF2-40B4-BE49-F238E27FC236}">
                <a16:creationId xmlns:a16="http://schemas.microsoft.com/office/drawing/2014/main" id="{9C801EC2-3672-6C4B-8C54-FB660A5708A1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3488" y="1954213"/>
            <a:ext cx="233362" cy="1587"/>
          </a:xfrm>
          <a:prstGeom prst="line">
            <a:avLst/>
          </a:prstGeom>
          <a:noFill/>
          <a:ln w="22225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915" name="Rectangle 99">
            <a:extLst>
              <a:ext uri="{FF2B5EF4-FFF2-40B4-BE49-F238E27FC236}">
                <a16:creationId xmlns:a16="http://schemas.microsoft.com/office/drawing/2014/main" id="{BFF60876-A715-1D4E-A9D1-D4DCEC28D1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5750" y="1844675"/>
            <a:ext cx="9096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Hauptschule</a:t>
            </a:r>
            <a:endParaRPr lang="de-DE" altLang="de-DE" sz="1400"/>
          </a:p>
        </p:txBody>
      </p:sp>
      <p:sp>
        <p:nvSpPr>
          <p:cNvPr id="34916" name="Line 100">
            <a:extLst>
              <a:ext uri="{FF2B5EF4-FFF2-40B4-BE49-F238E27FC236}">
                <a16:creationId xmlns:a16="http://schemas.microsoft.com/office/drawing/2014/main" id="{3B196DC4-B9AE-E147-B96D-921F4718F476}"/>
              </a:ext>
            </a:extLst>
          </p:cNvPr>
          <p:cNvSpPr>
            <a:spLocks noChangeShapeType="1"/>
          </p:cNvSpPr>
          <p:nvPr/>
        </p:nvSpPr>
        <p:spPr bwMode="auto">
          <a:xfrm>
            <a:off x="4140200" y="1954213"/>
            <a:ext cx="234950" cy="1587"/>
          </a:xfrm>
          <a:prstGeom prst="line">
            <a:avLst/>
          </a:prstGeom>
          <a:noFill/>
          <a:ln w="222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917" name="Rectangle 101">
            <a:extLst>
              <a:ext uri="{FF2B5EF4-FFF2-40B4-BE49-F238E27FC236}">
                <a16:creationId xmlns:a16="http://schemas.microsoft.com/office/drawing/2014/main" id="{43933606-8A1E-D846-9106-AEE20CB090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2463" y="1844675"/>
            <a:ext cx="8096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Realschule</a:t>
            </a:r>
            <a:endParaRPr lang="de-DE" altLang="de-DE" sz="1400"/>
          </a:p>
        </p:txBody>
      </p:sp>
      <p:sp>
        <p:nvSpPr>
          <p:cNvPr id="34918" name="Line 102">
            <a:extLst>
              <a:ext uri="{FF2B5EF4-FFF2-40B4-BE49-F238E27FC236}">
                <a16:creationId xmlns:a16="http://schemas.microsoft.com/office/drawing/2014/main" id="{1099D421-CAEC-6943-B9D0-3CD3B278F738}"/>
              </a:ext>
            </a:extLst>
          </p:cNvPr>
          <p:cNvSpPr>
            <a:spLocks noChangeShapeType="1"/>
          </p:cNvSpPr>
          <p:nvPr/>
        </p:nvSpPr>
        <p:spPr bwMode="auto">
          <a:xfrm>
            <a:off x="5680075" y="1954213"/>
            <a:ext cx="234950" cy="1587"/>
          </a:xfrm>
          <a:prstGeom prst="line">
            <a:avLst/>
          </a:prstGeom>
          <a:noFill/>
          <a:ln w="222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919" name="Rectangle 103">
            <a:extLst>
              <a:ext uri="{FF2B5EF4-FFF2-40B4-BE49-F238E27FC236}">
                <a16:creationId xmlns:a16="http://schemas.microsoft.com/office/drawing/2014/main" id="{BC3D722B-D7BF-2E4A-A3E2-68ED17A8A3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3925" y="1844675"/>
            <a:ext cx="8731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Gymnasium</a:t>
            </a:r>
            <a:endParaRPr lang="de-DE" altLang="de-DE" sz="1400"/>
          </a:p>
        </p:txBody>
      </p:sp>
      <p:sp>
        <p:nvSpPr>
          <p:cNvPr id="34920" name="Line 104">
            <a:extLst>
              <a:ext uri="{FF2B5EF4-FFF2-40B4-BE49-F238E27FC236}">
                <a16:creationId xmlns:a16="http://schemas.microsoft.com/office/drawing/2014/main" id="{63D1E760-63C3-6F49-B72F-7C23D5394BAB}"/>
              </a:ext>
            </a:extLst>
          </p:cNvPr>
          <p:cNvSpPr>
            <a:spLocks noChangeShapeType="1"/>
          </p:cNvSpPr>
          <p:nvPr/>
        </p:nvSpPr>
        <p:spPr bwMode="auto">
          <a:xfrm>
            <a:off x="1663700" y="5427663"/>
            <a:ext cx="6026150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921" name="Line 105">
            <a:extLst>
              <a:ext uri="{FF2B5EF4-FFF2-40B4-BE49-F238E27FC236}">
                <a16:creationId xmlns:a16="http://schemas.microsoft.com/office/drawing/2014/main" id="{F865CFD6-54C5-D744-B601-90FC6012603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95563" y="2119313"/>
            <a:ext cx="0" cy="3311525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922" name="Line 106">
            <a:extLst>
              <a:ext uri="{FF2B5EF4-FFF2-40B4-BE49-F238E27FC236}">
                <a16:creationId xmlns:a16="http://schemas.microsoft.com/office/drawing/2014/main" id="{1851E5E7-F333-2547-AC3C-3CC166B2866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00475" y="2111375"/>
            <a:ext cx="0" cy="3311525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923" name="Line 107">
            <a:extLst>
              <a:ext uri="{FF2B5EF4-FFF2-40B4-BE49-F238E27FC236}">
                <a16:creationId xmlns:a16="http://schemas.microsoft.com/office/drawing/2014/main" id="{E6DA30E4-EA70-C84F-85C1-119B4FB5C71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902200" y="2108200"/>
            <a:ext cx="0" cy="3311525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924" name="Line 108">
            <a:extLst>
              <a:ext uri="{FF2B5EF4-FFF2-40B4-BE49-F238E27FC236}">
                <a16:creationId xmlns:a16="http://schemas.microsoft.com/office/drawing/2014/main" id="{B5377954-5641-714C-BC2B-D259E5E6EB1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81725" y="2114550"/>
            <a:ext cx="0" cy="330200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925" name="Line 109">
            <a:extLst>
              <a:ext uri="{FF2B5EF4-FFF2-40B4-BE49-F238E27FC236}">
                <a16:creationId xmlns:a16="http://schemas.microsoft.com/office/drawing/2014/main" id="{7E2ADDD4-1665-C74B-897E-E874073C29E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663700" y="1992313"/>
            <a:ext cx="0" cy="34290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4926" name="AutoShape 110">
            <a:extLst>
              <a:ext uri="{FF2B5EF4-FFF2-40B4-BE49-F238E27FC236}">
                <a16:creationId xmlns:a16="http://schemas.microsoft.com/office/drawing/2014/main" id="{004846A7-BA93-424C-BCD7-A373592194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8038" y="4149725"/>
            <a:ext cx="2736850" cy="1295400"/>
          </a:xfrm>
          <a:prstGeom prst="triangle">
            <a:avLst>
              <a:gd name="adj" fmla="val 50000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4927" name="Rectangle 111">
            <a:extLst>
              <a:ext uri="{FF2B5EF4-FFF2-40B4-BE49-F238E27FC236}">
                <a16:creationId xmlns:a16="http://schemas.microsoft.com/office/drawing/2014/main" id="{BCA567A0-4A7B-9D4A-89F7-D205CC28F8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49275"/>
            <a:ext cx="7877175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1pPr>
            <a:lvl2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2pPr>
            <a:lvl3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3pPr>
            <a:lvl4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4pPr>
            <a:lvl5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600" b="1">
                <a:solidFill>
                  <a:schemeClr val="bg2"/>
                </a:solidFill>
                <a:cs typeface="Times New Roman" panose="02020603050405020304" pitchFamily="18" charset="0"/>
              </a:rPr>
              <a:t>Schullaufbahnempfehlungen von Lehrkräften für Deutschland</a:t>
            </a:r>
            <a:br>
              <a:rPr lang="de-DE" altLang="de-DE" sz="1600" b="1">
                <a:solidFill>
                  <a:schemeClr val="bg2"/>
                </a:solidFill>
                <a:cs typeface="Times New Roman" panose="02020603050405020304" pitchFamily="18" charset="0"/>
              </a:rPr>
            </a:br>
            <a:r>
              <a:rPr lang="de-DE" altLang="de-DE" sz="1600" b="1">
                <a:solidFill>
                  <a:schemeClr val="bg2"/>
                </a:solidFill>
                <a:cs typeface="Times New Roman" panose="02020603050405020304" pitchFamily="18" charset="0"/>
              </a:rPr>
              <a:t>– Gesamtskala Mathematik</a:t>
            </a:r>
            <a:r>
              <a:rPr lang="de-DE" altLang="de-DE" sz="1600" b="1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34928" name="Rectangle 112">
            <a:extLst>
              <a:ext uri="{FF2B5EF4-FFF2-40B4-BE49-F238E27FC236}">
                <a16:creationId xmlns:a16="http://schemas.microsoft.com/office/drawing/2014/main" id="{BDAA8FEA-47D0-EE45-A305-62188981C5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7005638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1pPr>
            <a:lvl2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2pPr>
            <a:lvl3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3pPr>
            <a:lvl4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4pPr>
            <a:lvl5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2400" b="1"/>
              <a:t>Dreiteiliges Schulsystem: Realität 2</a:t>
            </a:r>
          </a:p>
        </p:txBody>
      </p:sp>
      <p:sp>
        <p:nvSpPr>
          <p:cNvPr id="34929" name="AutoShape 113">
            <a:extLst>
              <a:ext uri="{FF2B5EF4-FFF2-40B4-BE49-F238E27FC236}">
                <a16:creationId xmlns:a16="http://schemas.microsoft.com/office/drawing/2014/main" id="{C4D840A9-A01E-8046-A480-B92A1711C6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6238" y="5013325"/>
            <a:ext cx="2879725" cy="431800"/>
          </a:xfrm>
          <a:prstGeom prst="triangle">
            <a:avLst>
              <a:gd name="adj" fmla="val 50000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FF0000"/>
              </a:solidFill>
            </a:endParaRPr>
          </a:p>
        </p:txBody>
      </p:sp>
      <p:sp>
        <p:nvSpPr>
          <p:cNvPr id="34930" name="AutoShape 114">
            <a:extLst>
              <a:ext uri="{FF2B5EF4-FFF2-40B4-BE49-F238E27FC236}">
                <a16:creationId xmlns:a16="http://schemas.microsoft.com/office/drawing/2014/main" id="{FDCE1908-43DE-D94F-A591-B9830524E4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300" y="5013325"/>
            <a:ext cx="2735263" cy="431800"/>
          </a:xfrm>
          <a:prstGeom prst="triangle">
            <a:avLst>
              <a:gd name="adj" fmla="val 50000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9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49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9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349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9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349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929" grpId="0" animBg="1"/>
      <p:bldP spid="3493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ED3E1C6-A314-AF4B-A080-C7DB4E3151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Forum Zukunftsfragen, 13. Juni 20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C4D2B82-7F32-CB4E-AE7F-23BBF2BB3E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AC4D98-B64A-164F-96D3-ED9E17C35E91}" type="slidenum">
              <a:rPr lang="de-DE" altLang="de-DE"/>
              <a:pPr/>
              <a:t>9</a:t>
            </a:fld>
            <a:endParaRPr lang="de-DE" altLang="de-DE"/>
          </a:p>
        </p:txBody>
      </p:sp>
      <p:sp>
        <p:nvSpPr>
          <p:cNvPr id="91138" name="Rectangle 2">
            <a:extLst>
              <a:ext uri="{FF2B5EF4-FFF2-40B4-BE49-F238E27FC236}">
                <a16:creationId xmlns:a16="http://schemas.microsoft.com/office/drawing/2014/main" id="{F7054FA7-88A6-C54B-9C01-5CF36B8AFB2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200" b="1"/>
              <a:t>Befund 1</a:t>
            </a:r>
          </a:p>
        </p:txBody>
      </p:sp>
      <p:sp>
        <p:nvSpPr>
          <p:cNvPr id="91139" name="Rectangle 3">
            <a:extLst>
              <a:ext uri="{FF2B5EF4-FFF2-40B4-BE49-F238E27FC236}">
                <a16:creationId xmlns:a16="http://schemas.microsoft.com/office/drawing/2014/main" id="{A9DECE35-B7D1-194C-B82B-38B142BE9BB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57200" y="2216150"/>
            <a:ext cx="8229600" cy="2220913"/>
          </a:xfrm>
        </p:spPr>
        <p:txBody>
          <a:bodyPr/>
          <a:lstStyle/>
          <a:p>
            <a:pPr algn="ctr">
              <a:buFont typeface="Wingdings" pitchFamily="2" charset="2"/>
              <a:buNone/>
            </a:pPr>
            <a:r>
              <a:rPr lang="de-DE" altLang="de-DE" sz="3600"/>
              <a:t>Die Zuordnung zu Schultypen erfolgt nicht nach der Leistungsfähigkeit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1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1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91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1139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jYsU.pxnkuNOoh6qc8p0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jYsU.pxnkuNOoh6qc8p0w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25</Words>
  <Application>Microsoft Macintosh PowerPoint</Application>
  <PresentationFormat>Bildschirmpräsentation (4:3)</PresentationFormat>
  <Paragraphs>490</Paragraphs>
  <Slides>37</Slides>
  <Notes>3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37</vt:i4>
      </vt:variant>
    </vt:vector>
  </HeadingPairs>
  <TitlesOfParts>
    <vt:vector size="44" baseType="lpstr">
      <vt:lpstr>Arial</vt:lpstr>
      <vt:lpstr>Wingdings</vt:lpstr>
      <vt:lpstr>Times New Roman</vt:lpstr>
      <vt:lpstr>Symbol</vt:lpstr>
      <vt:lpstr>Standarddesign</vt:lpstr>
      <vt:lpstr>Microsoft Office Excel-Diagramm</vt:lpstr>
      <vt:lpstr>Microsoft Clip Gallery</vt:lpstr>
      <vt:lpstr>Bildung in Deutschland  – gerecht verteilt?</vt:lpstr>
      <vt:lpstr>PowerPoint-Präsentation</vt:lpstr>
      <vt:lpstr>PowerPoint-Präsentation</vt:lpstr>
      <vt:lpstr>3 Botschaften</vt:lpstr>
      <vt:lpstr>PowerPoint-Präsentation</vt:lpstr>
      <vt:lpstr>Idealtypische Verteilung der Grundschulkinder auf die weiterführen- den Schulformen nach Leseleistung in Prozent </vt:lpstr>
      <vt:lpstr>PowerPoint-Präsentation</vt:lpstr>
      <vt:lpstr>PowerPoint-Präsentation</vt:lpstr>
      <vt:lpstr>Befund 1</vt:lpstr>
      <vt:lpstr>Noten und Leistungen  - Lesen</vt:lpstr>
      <vt:lpstr>Noten und Leistungen - Mathematik</vt:lpstr>
      <vt:lpstr>Befund 2</vt:lpstr>
      <vt:lpstr>Leistungen und Bildungsniveau Eltern</vt:lpstr>
      <vt:lpstr>Befund 3</vt:lpstr>
      <vt:lpstr>Ungerecht!</vt:lpstr>
      <vt:lpstr>3 Botschaften</vt:lpstr>
      <vt:lpstr>Leistungen nach Zuwanderung</vt:lpstr>
      <vt:lpstr>Befund 4</vt:lpstr>
      <vt:lpstr>Wir werden weniger und älter</vt:lpstr>
      <vt:lpstr>Wir werden weniger. Aber Studentenhoch!</vt:lpstr>
      <vt:lpstr>Studentenhoch nicht finanziert</vt:lpstr>
      <vt:lpstr>Befund 5</vt:lpstr>
      <vt:lpstr>Ingenieure, Stand Herbst 2005</vt:lpstr>
      <vt:lpstr>Befund 6</vt:lpstr>
      <vt:lpstr>Was ist zu tun? </vt:lpstr>
      <vt:lpstr>Was ist zu tun? </vt:lpstr>
      <vt:lpstr>3 Botschaften</vt:lpstr>
      <vt:lpstr>PowerPoint-Präsentation</vt:lpstr>
      <vt:lpstr>wettbewerblich</vt:lpstr>
      <vt:lpstr>wirtschaftlich</vt:lpstr>
      <vt:lpstr>international</vt:lpstr>
      <vt:lpstr>virtuell</vt:lpstr>
      <vt:lpstr>profiliert</vt:lpstr>
      <vt:lpstr>wissenschaftlich</vt:lpstr>
      <vt:lpstr>autonom</vt:lpstr>
      <vt:lpstr>PowerPoint-Präsentation</vt:lpstr>
      <vt:lpstr>PowerPoint-Präsentation</vt:lpstr>
    </vt:vector>
  </TitlesOfParts>
  <Company>CHE - Centrum für Hochschulentwicklu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Lars Hüning</dc:creator>
  <cp:lastModifiedBy>Detlef Müller-Böling</cp:lastModifiedBy>
  <cp:revision>33</cp:revision>
  <dcterms:created xsi:type="dcterms:W3CDTF">2007-03-01T14:35:06Z</dcterms:created>
  <dcterms:modified xsi:type="dcterms:W3CDTF">2022-02-05T15:39:12Z</dcterms:modified>
</cp:coreProperties>
</file>